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48" r:id="rId4"/>
  </p:sldMasterIdLst>
  <p:notesMasterIdLst>
    <p:notesMasterId r:id="rId13"/>
  </p:notesMasterIdLst>
  <p:sldIdLst>
    <p:sldId id="256" r:id="rId5"/>
    <p:sldId id="2076137900" r:id="rId6"/>
    <p:sldId id="2076137901" r:id="rId7"/>
    <p:sldId id="2076137895" r:id="rId8"/>
    <p:sldId id="2076137896" r:id="rId9"/>
    <p:sldId id="2076137903" r:id="rId10"/>
    <p:sldId id="2076137894" r:id="rId11"/>
    <p:sldId id="2076137902" r:id="rId12"/>
  </p:sldIdLst>
  <p:sldSz cx="12192000" cy="6858000"/>
  <p:notesSz cx="7010400" cy="9236075"/>
  <p:embeddedFontLst>
    <p:embeddedFont>
      <p:font typeface="Calibri" panose="020F0502020204030204" pitchFamily="34" charset="0"/>
      <p:regular r:id="rId14"/>
      <p:bold r:id="rId15"/>
      <p:italic r:id="rId16"/>
      <p:boldItalic r:id="rId17"/>
    </p:embeddedFont>
    <p:embeddedFont>
      <p:font typeface="Cavolini" panose="03000502040302020204" pitchFamily="66" charset="0"/>
      <p:regular r:id="rId18"/>
      <p:bold r:id="rId19"/>
      <p:italic r:id="rId20"/>
      <p:boldItalic r:id="rId21"/>
    </p:embeddedFont>
    <p:embeddedFont>
      <p:font typeface="Tahoma" panose="020B0604030504040204" pitchFamily="34" charset="0"/>
      <p:regular r:id="rId22"/>
      <p:bold r:id="rId23"/>
    </p:embeddedFont>
  </p:embeddedFontLst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88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B05E71D-EF4A-98B8-F8D0-4E15E85176D0}" name="Brake, Aubrie (CarnCorp)" initials="BA(" userId="S::ABrake@carnival.com::1518d171-86e7-4e38-980d-8fd859ebff6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1947"/>
    <a:srgbClr val="E7EE90"/>
    <a:srgbClr val="A8A49C"/>
    <a:srgbClr val="021947"/>
    <a:srgbClr val="8ED9F8"/>
    <a:srgbClr val="6BC4E8"/>
    <a:srgbClr val="111C4E"/>
    <a:srgbClr val="07194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BEBC22-A4D0-4298-8E91-F76BF0FDAD28}" v="1441" dt="2023-10-17T13:39:15.547"/>
    <p1510:client id="{C7315EAD-9EB2-4B0C-97FD-180ED2947B25}" v="559" dt="2023-10-17T14:07:45.54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6"/>
      </p:cViewPr>
      <p:guideLst>
        <p:guide orient="horz" pos="1488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5.fntdata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font" Target="fonts/font8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font" Target="fonts/font4.fntdata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font" Target="fonts/font2.fntdata"/><Relationship Id="rId23" Type="http://schemas.openxmlformats.org/officeDocument/2006/relationships/font" Target="fonts/font10.fntdata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font" Target="fonts/font6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font" Target="fonts/font1.fntdata"/><Relationship Id="rId22" Type="http://schemas.openxmlformats.org/officeDocument/2006/relationships/font" Target="fonts/font9.fntdata"/><Relationship Id="rId27" Type="http://schemas.openxmlformats.org/officeDocument/2006/relationships/theme" Target="theme/theme1.xml"/><Relationship Id="rId30" Type="http://schemas.microsoft.com/office/2018/10/relationships/authors" Target="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4">
  <dgm:title val=""/>
  <dgm:desc val=""/>
  <dgm:catLst>
    <dgm:cat type="accent6" pri="11400"/>
  </dgm:catLst>
  <dgm:styleLbl name="node0">
    <dgm:fillClrLst meth="cycle">
      <a:schemeClr val="accent6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6">
        <a:shade val="50000"/>
      </a:schemeClr>
      <a:schemeClr val="accent6">
        <a:tint val="55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/>
    <dgm:txEffectClrLst/>
  </dgm:styleLbl>
  <dgm:styleLbl name="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6">
        <a:shade val="80000"/>
        <a:alpha val="5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55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A982D52-95F1-4763-893B-8857BEB7A0CC}" type="doc">
      <dgm:prSet loTypeId="urn:microsoft.com/office/officeart/2005/8/layout/chevron1" loCatId="process" qsTypeId="urn:microsoft.com/office/officeart/2005/8/quickstyle/simple5" qsCatId="simple" csTypeId="urn:microsoft.com/office/officeart/2005/8/colors/accent6_4" csCatId="accent6" phldr="1"/>
      <dgm:spPr/>
      <dgm:t>
        <a:bodyPr/>
        <a:lstStyle/>
        <a:p>
          <a:endParaRPr lang="en-US"/>
        </a:p>
      </dgm:t>
    </dgm:pt>
    <dgm:pt modelId="{E5E92BB2-D61B-44B4-BA88-ECD6CC2E7811}">
      <dgm:prSet phldrT="[Text]" custT="1"/>
      <dgm:spPr/>
      <dgm:t>
        <a:bodyPr/>
        <a:lstStyle/>
        <a:p>
          <a:r>
            <a:rPr lang="en-US" sz="2800"/>
            <a:t>Now</a:t>
          </a:r>
        </a:p>
      </dgm:t>
    </dgm:pt>
    <dgm:pt modelId="{0B85ABA4-F970-4C1C-A110-D2A14B186F5D}" type="parTrans" cxnId="{7FC155E7-6204-4269-817E-DF4DC5856A77}">
      <dgm:prSet/>
      <dgm:spPr/>
      <dgm:t>
        <a:bodyPr/>
        <a:lstStyle/>
        <a:p>
          <a:endParaRPr lang="en-US" sz="2800"/>
        </a:p>
      </dgm:t>
    </dgm:pt>
    <dgm:pt modelId="{201FB17B-28AA-43EB-8265-BEB861029838}" type="sibTrans" cxnId="{7FC155E7-6204-4269-817E-DF4DC5856A77}">
      <dgm:prSet/>
      <dgm:spPr/>
      <dgm:t>
        <a:bodyPr/>
        <a:lstStyle/>
        <a:p>
          <a:endParaRPr lang="en-US" sz="2800"/>
        </a:p>
      </dgm:t>
    </dgm:pt>
    <dgm:pt modelId="{D7A58997-7D75-47B6-9F80-622CCBFAE49D}">
      <dgm:prSet phldrT="[Text]" custT="1"/>
      <dgm:spPr/>
      <dgm:t>
        <a:bodyPr/>
        <a:lstStyle/>
        <a:p>
          <a:r>
            <a:rPr lang="en-US" sz="2800"/>
            <a:t>Q1-Q3     2024</a:t>
          </a:r>
        </a:p>
      </dgm:t>
    </dgm:pt>
    <dgm:pt modelId="{9A90BC9D-C525-4849-A750-FB62C90A98EF}" type="parTrans" cxnId="{C4180416-15BE-41C0-820C-16EBEADBB66A}">
      <dgm:prSet/>
      <dgm:spPr/>
      <dgm:t>
        <a:bodyPr/>
        <a:lstStyle/>
        <a:p>
          <a:endParaRPr lang="en-US" sz="2800"/>
        </a:p>
      </dgm:t>
    </dgm:pt>
    <dgm:pt modelId="{F30977A0-6064-4AEE-8827-7C44C0995F0B}" type="sibTrans" cxnId="{C4180416-15BE-41C0-820C-16EBEADBB66A}">
      <dgm:prSet/>
      <dgm:spPr/>
      <dgm:t>
        <a:bodyPr/>
        <a:lstStyle/>
        <a:p>
          <a:endParaRPr lang="en-US" sz="2800"/>
        </a:p>
      </dgm:t>
    </dgm:pt>
    <dgm:pt modelId="{2150A689-5CEF-49B9-A2DC-18A3DCD5602B}">
      <dgm:prSet phldrT="[Text]" custT="1"/>
      <dgm:spPr/>
      <dgm:t>
        <a:bodyPr/>
        <a:lstStyle/>
        <a:p>
          <a:r>
            <a:rPr lang="en-US" sz="2800"/>
            <a:t>Q1 2025</a:t>
          </a:r>
        </a:p>
      </dgm:t>
    </dgm:pt>
    <dgm:pt modelId="{D239A878-9C31-47E7-B4E1-46A7B3332990}" type="parTrans" cxnId="{5D8692FA-9C9D-452C-9736-7AA72331ACFC}">
      <dgm:prSet/>
      <dgm:spPr/>
      <dgm:t>
        <a:bodyPr/>
        <a:lstStyle/>
        <a:p>
          <a:endParaRPr lang="en-US" sz="2800"/>
        </a:p>
      </dgm:t>
    </dgm:pt>
    <dgm:pt modelId="{A88C5CA7-4E68-44D8-8B09-45016610918C}" type="sibTrans" cxnId="{5D8692FA-9C9D-452C-9736-7AA72331ACFC}">
      <dgm:prSet/>
      <dgm:spPr/>
      <dgm:t>
        <a:bodyPr/>
        <a:lstStyle/>
        <a:p>
          <a:endParaRPr lang="en-US" sz="2800"/>
        </a:p>
      </dgm:t>
    </dgm:pt>
    <dgm:pt modelId="{D2CE67D2-4F03-45D5-85E3-16D1CED0B447}">
      <dgm:prSet phldrT="[Text]" custT="1"/>
      <dgm:spPr/>
      <dgm:t>
        <a:bodyPr/>
        <a:lstStyle/>
        <a:p>
          <a:r>
            <a:rPr lang="en-US" sz="2800"/>
            <a:t>Q4 2024</a:t>
          </a:r>
        </a:p>
      </dgm:t>
    </dgm:pt>
    <dgm:pt modelId="{DBC75DE8-8419-46FA-B51F-631E83F8226E}" type="parTrans" cxnId="{F2DE2686-B08C-4107-A091-7DB2112F1331}">
      <dgm:prSet/>
      <dgm:spPr/>
      <dgm:t>
        <a:bodyPr/>
        <a:lstStyle/>
        <a:p>
          <a:endParaRPr lang="en-US" sz="2800"/>
        </a:p>
      </dgm:t>
    </dgm:pt>
    <dgm:pt modelId="{D511DCF9-B129-43DB-ABC8-95FE743B6740}" type="sibTrans" cxnId="{F2DE2686-B08C-4107-A091-7DB2112F1331}">
      <dgm:prSet/>
      <dgm:spPr/>
      <dgm:t>
        <a:bodyPr/>
        <a:lstStyle/>
        <a:p>
          <a:endParaRPr lang="en-US" sz="2800"/>
        </a:p>
      </dgm:t>
    </dgm:pt>
    <dgm:pt modelId="{BC898929-504D-4545-A58C-F89F9ED1C420}">
      <dgm:prSet phldrT="[Text]" custT="1"/>
      <dgm:spPr/>
      <dgm:t>
        <a:bodyPr/>
        <a:lstStyle/>
        <a:p>
          <a:r>
            <a:rPr lang="en-US" sz="2800"/>
            <a:t>Q2 2025</a:t>
          </a:r>
        </a:p>
      </dgm:t>
    </dgm:pt>
    <dgm:pt modelId="{70CA6517-7B97-445B-BD34-F582A893D28B}" type="parTrans" cxnId="{0A1E52EF-9383-4404-AE6F-DF8F51B77E38}">
      <dgm:prSet/>
      <dgm:spPr/>
      <dgm:t>
        <a:bodyPr/>
        <a:lstStyle/>
        <a:p>
          <a:endParaRPr lang="en-US" sz="2800"/>
        </a:p>
      </dgm:t>
    </dgm:pt>
    <dgm:pt modelId="{593568CD-58FC-4F66-862A-E8C2EB6727D9}" type="sibTrans" cxnId="{0A1E52EF-9383-4404-AE6F-DF8F51B77E38}">
      <dgm:prSet/>
      <dgm:spPr/>
      <dgm:t>
        <a:bodyPr/>
        <a:lstStyle/>
        <a:p>
          <a:endParaRPr lang="en-US" sz="2800"/>
        </a:p>
      </dgm:t>
    </dgm:pt>
    <dgm:pt modelId="{F018CFAD-5F57-4499-B6B9-FB5D7E823C28}" type="pres">
      <dgm:prSet presAssocID="{8A982D52-95F1-4763-893B-8857BEB7A0CC}" presName="Name0" presStyleCnt="0">
        <dgm:presLayoutVars>
          <dgm:dir/>
          <dgm:animLvl val="lvl"/>
          <dgm:resizeHandles val="exact"/>
        </dgm:presLayoutVars>
      </dgm:prSet>
      <dgm:spPr/>
    </dgm:pt>
    <dgm:pt modelId="{9399FD9C-EF4D-4265-9A44-C0BAAAF3A2D9}" type="pres">
      <dgm:prSet presAssocID="{E5E92BB2-D61B-44B4-BA88-ECD6CC2E7811}" presName="parTxOnly" presStyleLbl="node1" presStyleIdx="0" presStyleCnt="5" custScaleX="127693">
        <dgm:presLayoutVars>
          <dgm:chMax val="0"/>
          <dgm:chPref val="0"/>
          <dgm:bulletEnabled val="1"/>
        </dgm:presLayoutVars>
      </dgm:prSet>
      <dgm:spPr/>
    </dgm:pt>
    <dgm:pt modelId="{A5D07BB1-B7B0-4A84-A30C-D47EA414CEAF}" type="pres">
      <dgm:prSet presAssocID="{201FB17B-28AA-43EB-8265-BEB861029838}" presName="parTxOnlySpace" presStyleCnt="0"/>
      <dgm:spPr/>
    </dgm:pt>
    <dgm:pt modelId="{740F4956-9340-4DF3-91A3-F3E4C726B0AF}" type="pres">
      <dgm:prSet presAssocID="{D7A58997-7D75-47B6-9F80-622CCBFAE49D}" presName="parTxOnly" presStyleLbl="node1" presStyleIdx="1" presStyleCnt="5" custScaleX="108755">
        <dgm:presLayoutVars>
          <dgm:chMax val="0"/>
          <dgm:chPref val="0"/>
          <dgm:bulletEnabled val="1"/>
        </dgm:presLayoutVars>
      </dgm:prSet>
      <dgm:spPr/>
    </dgm:pt>
    <dgm:pt modelId="{5821382D-4D4C-4DFD-A5E8-867B0924D1EE}" type="pres">
      <dgm:prSet presAssocID="{F30977A0-6064-4AEE-8827-7C44C0995F0B}" presName="parTxOnlySpace" presStyleCnt="0"/>
      <dgm:spPr/>
    </dgm:pt>
    <dgm:pt modelId="{B01D20D7-2A4F-4E51-A277-D36C6FB1B68C}" type="pres">
      <dgm:prSet presAssocID="{D2CE67D2-4F03-45D5-85E3-16D1CED0B447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</dgm:pt>
    <dgm:pt modelId="{6558738F-F863-42AA-97D9-34ECA926AF97}" type="pres">
      <dgm:prSet presAssocID="{D511DCF9-B129-43DB-ABC8-95FE743B6740}" presName="parTxOnlySpace" presStyleCnt="0"/>
      <dgm:spPr/>
    </dgm:pt>
    <dgm:pt modelId="{4DA1AA32-03BC-4331-9A9B-511AD561CAFC}" type="pres">
      <dgm:prSet presAssocID="{2150A689-5CEF-49B9-A2DC-18A3DCD5602B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</dgm:pt>
    <dgm:pt modelId="{B63728A7-F3C4-40C2-90E1-1BC32F89B99F}" type="pres">
      <dgm:prSet presAssocID="{A88C5CA7-4E68-44D8-8B09-45016610918C}" presName="parTxOnlySpace" presStyleCnt="0"/>
      <dgm:spPr/>
    </dgm:pt>
    <dgm:pt modelId="{0117EE7E-CAA0-4DF1-A248-BFEF1BC71691}" type="pres">
      <dgm:prSet presAssocID="{BC898929-504D-4545-A58C-F89F9ED1C420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</dgm:pt>
  </dgm:ptLst>
  <dgm:cxnLst>
    <dgm:cxn modelId="{C4180416-15BE-41C0-820C-16EBEADBB66A}" srcId="{8A982D52-95F1-4763-893B-8857BEB7A0CC}" destId="{D7A58997-7D75-47B6-9F80-622CCBFAE49D}" srcOrd="1" destOrd="0" parTransId="{9A90BC9D-C525-4849-A750-FB62C90A98EF}" sibTransId="{F30977A0-6064-4AEE-8827-7C44C0995F0B}"/>
    <dgm:cxn modelId="{DF57F12E-EEBA-4B6D-AA0D-958C4E380E98}" type="presOf" srcId="{2150A689-5CEF-49B9-A2DC-18A3DCD5602B}" destId="{4DA1AA32-03BC-4331-9A9B-511AD561CAFC}" srcOrd="0" destOrd="0" presId="urn:microsoft.com/office/officeart/2005/8/layout/chevron1"/>
    <dgm:cxn modelId="{8AD6CD34-C769-4CBA-9C6F-D8AD9F086A3B}" type="presOf" srcId="{E5E92BB2-D61B-44B4-BA88-ECD6CC2E7811}" destId="{9399FD9C-EF4D-4265-9A44-C0BAAAF3A2D9}" srcOrd="0" destOrd="0" presId="urn:microsoft.com/office/officeart/2005/8/layout/chevron1"/>
    <dgm:cxn modelId="{2F0D046C-DC7B-4760-8684-FC9C99BBE278}" type="presOf" srcId="{8A982D52-95F1-4763-893B-8857BEB7A0CC}" destId="{F018CFAD-5F57-4499-B6B9-FB5D7E823C28}" srcOrd="0" destOrd="0" presId="urn:microsoft.com/office/officeart/2005/8/layout/chevron1"/>
    <dgm:cxn modelId="{294EA752-B5B6-46DA-85CC-1B27822ADE78}" type="presOf" srcId="{D7A58997-7D75-47B6-9F80-622CCBFAE49D}" destId="{740F4956-9340-4DF3-91A3-F3E4C726B0AF}" srcOrd="0" destOrd="0" presId="urn:microsoft.com/office/officeart/2005/8/layout/chevron1"/>
    <dgm:cxn modelId="{05D42383-B459-4A1A-A6E7-E8D0C3B16CC8}" type="presOf" srcId="{BC898929-504D-4545-A58C-F89F9ED1C420}" destId="{0117EE7E-CAA0-4DF1-A248-BFEF1BC71691}" srcOrd="0" destOrd="0" presId="urn:microsoft.com/office/officeart/2005/8/layout/chevron1"/>
    <dgm:cxn modelId="{F2DE2686-B08C-4107-A091-7DB2112F1331}" srcId="{8A982D52-95F1-4763-893B-8857BEB7A0CC}" destId="{D2CE67D2-4F03-45D5-85E3-16D1CED0B447}" srcOrd="2" destOrd="0" parTransId="{DBC75DE8-8419-46FA-B51F-631E83F8226E}" sibTransId="{D511DCF9-B129-43DB-ABC8-95FE743B6740}"/>
    <dgm:cxn modelId="{D5755291-BEBD-4233-8C2A-C28F034DA413}" type="presOf" srcId="{D2CE67D2-4F03-45D5-85E3-16D1CED0B447}" destId="{B01D20D7-2A4F-4E51-A277-D36C6FB1B68C}" srcOrd="0" destOrd="0" presId="urn:microsoft.com/office/officeart/2005/8/layout/chevron1"/>
    <dgm:cxn modelId="{7FC155E7-6204-4269-817E-DF4DC5856A77}" srcId="{8A982D52-95F1-4763-893B-8857BEB7A0CC}" destId="{E5E92BB2-D61B-44B4-BA88-ECD6CC2E7811}" srcOrd="0" destOrd="0" parTransId="{0B85ABA4-F970-4C1C-A110-D2A14B186F5D}" sibTransId="{201FB17B-28AA-43EB-8265-BEB861029838}"/>
    <dgm:cxn modelId="{0A1E52EF-9383-4404-AE6F-DF8F51B77E38}" srcId="{8A982D52-95F1-4763-893B-8857BEB7A0CC}" destId="{BC898929-504D-4545-A58C-F89F9ED1C420}" srcOrd="4" destOrd="0" parTransId="{70CA6517-7B97-445B-BD34-F582A893D28B}" sibTransId="{593568CD-58FC-4F66-862A-E8C2EB6727D9}"/>
    <dgm:cxn modelId="{5D8692FA-9C9D-452C-9736-7AA72331ACFC}" srcId="{8A982D52-95F1-4763-893B-8857BEB7A0CC}" destId="{2150A689-5CEF-49B9-A2DC-18A3DCD5602B}" srcOrd="3" destOrd="0" parTransId="{D239A878-9C31-47E7-B4E1-46A7B3332990}" sibTransId="{A88C5CA7-4E68-44D8-8B09-45016610918C}"/>
    <dgm:cxn modelId="{CC45DEE9-86D3-4E49-B793-419F5D14029C}" type="presParOf" srcId="{F018CFAD-5F57-4499-B6B9-FB5D7E823C28}" destId="{9399FD9C-EF4D-4265-9A44-C0BAAAF3A2D9}" srcOrd="0" destOrd="0" presId="urn:microsoft.com/office/officeart/2005/8/layout/chevron1"/>
    <dgm:cxn modelId="{108C8270-6EE5-4C4A-9D36-BC3AC07BED97}" type="presParOf" srcId="{F018CFAD-5F57-4499-B6B9-FB5D7E823C28}" destId="{A5D07BB1-B7B0-4A84-A30C-D47EA414CEAF}" srcOrd="1" destOrd="0" presId="urn:microsoft.com/office/officeart/2005/8/layout/chevron1"/>
    <dgm:cxn modelId="{C3C1B5D0-92B1-4F09-AF70-BC4D414148C1}" type="presParOf" srcId="{F018CFAD-5F57-4499-B6B9-FB5D7E823C28}" destId="{740F4956-9340-4DF3-91A3-F3E4C726B0AF}" srcOrd="2" destOrd="0" presId="urn:microsoft.com/office/officeart/2005/8/layout/chevron1"/>
    <dgm:cxn modelId="{D89DB20F-F8EC-4CD7-A15D-DE279AA21041}" type="presParOf" srcId="{F018CFAD-5F57-4499-B6B9-FB5D7E823C28}" destId="{5821382D-4D4C-4DFD-A5E8-867B0924D1EE}" srcOrd="3" destOrd="0" presId="urn:microsoft.com/office/officeart/2005/8/layout/chevron1"/>
    <dgm:cxn modelId="{25212929-BFFF-4AEB-9267-39F36AF2C589}" type="presParOf" srcId="{F018CFAD-5F57-4499-B6B9-FB5D7E823C28}" destId="{B01D20D7-2A4F-4E51-A277-D36C6FB1B68C}" srcOrd="4" destOrd="0" presId="urn:microsoft.com/office/officeart/2005/8/layout/chevron1"/>
    <dgm:cxn modelId="{44554586-7C30-4528-A8E1-88510E30054B}" type="presParOf" srcId="{F018CFAD-5F57-4499-B6B9-FB5D7E823C28}" destId="{6558738F-F863-42AA-97D9-34ECA926AF97}" srcOrd="5" destOrd="0" presId="urn:microsoft.com/office/officeart/2005/8/layout/chevron1"/>
    <dgm:cxn modelId="{8E613295-24DC-494D-AA8C-84F914FA7A4E}" type="presParOf" srcId="{F018CFAD-5F57-4499-B6B9-FB5D7E823C28}" destId="{4DA1AA32-03BC-4331-9A9B-511AD561CAFC}" srcOrd="6" destOrd="0" presId="urn:microsoft.com/office/officeart/2005/8/layout/chevron1"/>
    <dgm:cxn modelId="{8E1B8A35-B159-4BB3-B76B-02F4BD84C29A}" type="presParOf" srcId="{F018CFAD-5F57-4499-B6B9-FB5D7E823C28}" destId="{B63728A7-F3C4-40C2-90E1-1BC32F89B99F}" srcOrd="7" destOrd="0" presId="urn:microsoft.com/office/officeart/2005/8/layout/chevron1"/>
    <dgm:cxn modelId="{D49F9BB1-B002-4230-B304-60D43DE6DD38}" type="presParOf" srcId="{F018CFAD-5F57-4499-B6B9-FB5D7E823C28}" destId="{0117EE7E-CAA0-4DF1-A248-BFEF1BC71691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399FD9C-EF4D-4265-9A44-C0BAAAF3A2D9}">
      <dsp:nvSpPr>
        <dsp:cNvPr id="0" name=""/>
        <dsp:cNvSpPr/>
      </dsp:nvSpPr>
      <dsp:spPr>
        <a:xfrm>
          <a:off x="418" y="2249202"/>
          <a:ext cx="2897347" cy="907597"/>
        </a:xfrm>
        <a:prstGeom prst="chevron">
          <a:avLst/>
        </a:prstGeom>
        <a:gradFill rotWithShape="0">
          <a:gsLst>
            <a:gs pos="0">
              <a:schemeClr val="accent6">
                <a:shade val="5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shade val="5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shade val="5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2014" tIns="37338" rIns="37338" bIns="37338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/>
            <a:t>Now</a:t>
          </a:r>
        </a:p>
      </dsp:txBody>
      <dsp:txXfrm>
        <a:off x="454217" y="2249202"/>
        <a:ext cx="1989750" cy="907597"/>
      </dsp:txXfrm>
    </dsp:sp>
    <dsp:sp modelId="{740F4956-9340-4DF3-91A3-F3E4C726B0AF}">
      <dsp:nvSpPr>
        <dsp:cNvPr id="0" name=""/>
        <dsp:cNvSpPr/>
      </dsp:nvSpPr>
      <dsp:spPr>
        <a:xfrm>
          <a:off x="2670865" y="2249202"/>
          <a:ext cx="2467644" cy="907597"/>
        </a:xfrm>
        <a:prstGeom prst="chevron">
          <a:avLst/>
        </a:prstGeom>
        <a:gradFill rotWithShape="0">
          <a:gsLst>
            <a:gs pos="0">
              <a:schemeClr val="accent6">
                <a:shade val="50000"/>
                <a:hueOff val="290587"/>
                <a:satOff val="-33241"/>
                <a:lumOff val="22126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shade val="50000"/>
                <a:hueOff val="290587"/>
                <a:satOff val="-33241"/>
                <a:lumOff val="22126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shade val="50000"/>
                <a:hueOff val="290587"/>
                <a:satOff val="-33241"/>
                <a:lumOff val="22126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2014" tIns="37338" rIns="37338" bIns="37338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/>
            <a:t>Q1-Q3     2024</a:t>
          </a:r>
        </a:p>
      </dsp:txBody>
      <dsp:txXfrm>
        <a:off x="3124664" y="2249202"/>
        <a:ext cx="1560047" cy="907597"/>
      </dsp:txXfrm>
    </dsp:sp>
    <dsp:sp modelId="{B01D20D7-2A4F-4E51-A277-D36C6FB1B68C}">
      <dsp:nvSpPr>
        <dsp:cNvPr id="0" name=""/>
        <dsp:cNvSpPr/>
      </dsp:nvSpPr>
      <dsp:spPr>
        <a:xfrm>
          <a:off x="4911611" y="2249202"/>
          <a:ext cx="2268994" cy="907597"/>
        </a:xfrm>
        <a:prstGeom prst="chevron">
          <a:avLst/>
        </a:prstGeom>
        <a:gradFill rotWithShape="0">
          <a:gsLst>
            <a:gs pos="0">
              <a:schemeClr val="accent6">
                <a:shade val="50000"/>
                <a:hueOff val="581174"/>
                <a:satOff val="-66482"/>
                <a:lumOff val="44253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shade val="50000"/>
                <a:hueOff val="581174"/>
                <a:satOff val="-66482"/>
                <a:lumOff val="44253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shade val="50000"/>
                <a:hueOff val="581174"/>
                <a:satOff val="-66482"/>
                <a:lumOff val="44253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2014" tIns="37338" rIns="37338" bIns="37338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/>
            <a:t>Q4 2024</a:t>
          </a:r>
        </a:p>
      </dsp:txBody>
      <dsp:txXfrm>
        <a:off x="5365410" y="2249202"/>
        <a:ext cx="1361397" cy="907597"/>
      </dsp:txXfrm>
    </dsp:sp>
    <dsp:sp modelId="{4DA1AA32-03BC-4331-9A9B-511AD561CAFC}">
      <dsp:nvSpPr>
        <dsp:cNvPr id="0" name=""/>
        <dsp:cNvSpPr/>
      </dsp:nvSpPr>
      <dsp:spPr>
        <a:xfrm>
          <a:off x="6953706" y="2249202"/>
          <a:ext cx="2268994" cy="907597"/>
        </a:xfrm>
        <a:prstGeom prst="chevron">
          <a:avLst/>
        </a:prstGeom>
        <a:gradFill rotWithShape="0">
          <a:gsLst>
            <a:gs pos="0">
              <a:schemeClr val="accent6">
                <a:shade val="50000"/>
                <a:hueOff val="581174"/>
                <a:satOff val="-66482"/>
                <a:lumOff val="44253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shade val="50000"/>
                <a:hueOff val="581174"/>
                <a:satOff val="-66482"/>
                <a:lumOff val="44253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shade val="50000"/>
                <a:hueOff val="581174"/>
                <a:satOff val="-66482"/>
                <a:lumOff val="44253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2014" tIns="37338" rIns="37338" bIns="37338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/>
            <a:t>Q1 2025</a:t>
          </a:r>
        </a:p>
      </dsp:txBody>
      <dsp:txXfrm>
        <a:off x="7407505" y="2249202"/>
        <a:ext cx="1361397" cy="907597"/>
      </dsp:txXfrm>
    </dsp:sp>
    <dsp:sp modelId="{0117EE7E-CAA0-4DF1-A248-BFEF1BC71691}">
      <dsp:nvSpPr>
        <dsp:cNvPr id="0" name=""/>
        <dsp:cNvSpPr/>
      </dsp:nvSpPr>
      <dsp:spPr>
        <a:xfrm>
          <a:off x="8995801" y="2249202"/>
          <a:ext cx="2268994" cy="907597"/>
        </a:xfrm>
        <a:prstGeom prst="chevron">
          <a:avLst/>
        </a:prstGeom>
        <a:gradFill rotWithShape="0">
          <a:gsLst>
            <a:gs pos="0">
              <a:schemeClr val="accent6">
                <a:shade val="50000"/>
                <a:hueOff val="290587"/>
                <a:satOff val="-33241"/>
                <a:lumOff val="22126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6">
                <a:shade val="50000"/>
                <a:hueOff val="290587"/>
                <a:satOff val="-33241"/>
                <a:lumOff val="22126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6">
                <a:shade val="50000"/>
                <a:hueOff val="290587"/>
                <a:satOff val="-33241"/>
                <a:lumOff val="22126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2014" tIns="37338" rIns="37338" bIns="37338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/>
            <a:t>Q2 2025</a:t>
          </a:r>
        </a:p>
      </dsp:txBody>
      <dsp:txXfrm>
        <a:off x="9449600" y="2249202"/>
        <a:ext cx="1361397" cy="90759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3408"/>
          </a:xfrm>
          <a:prstGeom prst="rect">
            <a:avLst/>
          </a:prstGeom>
        </p:spPr>
        <p:txBody>
          <a:bodyPr vert="horz" lIns="92830" tIns="46415" rIns="92830" bIns="4641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3408"/>
          </a:xfrm>
          <a:prstGeom prst="rect">
            <a:avLst/>
          </a:prstGeom>
        </p:spPr>
        <p:txBody>
          <a:bodyPr vert="horz" lIns="92830" tIns="46415" rIns="92830" bIns="46415" rtlCol="0"/>
          <a:lstStyle>
            <a:lvl1pPr algn="r">
              <a:defRPr sz="1200"/>
            </a:lvl1pPr>
          </a:lstStyle>
          <a:p>
            <a:fld id="{B24DC6BF-5C0C-184C-8EF4-2ACB67301197}" type="datetimeFigureOut">
              <a:rPr lang="en-US" smtClean="0"/>
              <a:t>10/3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3425" y="1154113"/>
            <a:ext cx="5543550" cy="31178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830" tIns="46415" rIns="92830" bIns="46415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44861"/>
            <a:ext cx="5608320" cy="3636705"/>
          </a:xfrm>
          <a:prstGeom prst="rect">
            <a:avLst/>
          </a:prstGeom>
        </p:spPr>
        <p:txBody>
          <a:bodyPr vert="horz" lIns="92830" tIns="46415" rIns="92830" bIns="46415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37840" cy="463407"/>
          </a:xfrm>
          <a:prstGeom prst="rect">
            <a:avLst/>
          </a:prstGeom>
        </p:spPr>
        <p:txBody>
          <a:bodyPr vert="horz" lIns="92830" tIns="46415" rIns="92830" bIns="4641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772669"/>
            <a:ext cx="3037840" cy="463407"/>
          </a:xfrm>
          <a:prstGeom prst="rect">
            <a:avLst/>
          </a:prstGeom>
        </p:spPr>
        <p:txBody>
          <a:bodyPr vert="horz" lIns="92830" tIns="46415" rIns="92830" bIns="46415" rtlCol="0" anchor="b"/>
          <a:lstStyle>
            <a:lvl1pPr algn="r">
              <a:defRPr sz="1200"/>
            </a:lvl1pPr>
          </a:lstStyle>
          <a:p>
            <a:fld id="{DD5CC3F3-9B94-C940-990E-370941020A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24197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oogle Shape;43;p1" descr="A picture containing water, outdoor, sky, ocean&#10;&#10;Description automatically generated">
            <a:extLst>
              <a:ext uri="{FF2B5EF4-FFF2-40B4-BE49-F238E27FC236}">
                <a16:creationId xmlns:a16="http://schemas.microsoft.com/office/drawing/2014/main" id="{9B2812C8-479D-10D0-3F42-1981AEEFCC0E}"/>
              </a:ext>
            </a:extLst>
          </p:cNvPr>
          <p:cNvPicPr preferRelativeResize="0"/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52" cy="6858000"/>
          </a:xfrm>
          <a:prstGeom prst="rect">
            <a:avLst/>
          </a:prstGeom>
          <a:solidFill>
            <a:srgbClr val="E31836"/>
          </a:solidFill>
          <a:ln>
            <a:noFill/>
          </a:ln>
        </p:spPr>
      </p:pic>
      <p:pic>
        <p:nvPicPr>
          <p:cNvPr id="8" name="Google Shape;46;p1" descr="Text&#10;&#10;Description automatically generated with medium confidence">
            <a:extLst>
              <a:ext uri="{FF2B5EF4-FFF2-40B4-BE49-F238E27FC236}">
                <a16:creationId xmlns:a16="http://schemas.microsoft.com/office/drawing/2014/main" id="{F8B05276-45D6-F163-0BF0-81D3F7B2486A}"/>
              </a:ext>
            </a:extLst>
          </p:cNvPr>
          <p:cNvPicPr preferRelativeResize="0"/>
          <p:nvPr userDrawn="1"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06902" y="1803930"/>
            <a:ext cx="4778196" cy="1853140"/>
          </a:xfrm>
          <a:prstGeom prst="rect">
            <a:avLst/>
          </a:prstGeom>
          <a:noFill/>
          <a:ln>
            <a:noFill/>
          </a:ln>
          <a:effectLst>
            <a:outerShdw blurRad="1270000" algn="ctr" rotWithShape="0">
              <a:srgbClr val="000000"/>
            </a:outerShdw>
          </a:effectLst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5E2FC52-8EFC-6860-438C-5509C7138B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282707"/>
            <a:ext cx="12192000" cy="35658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28997326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60;g1d9b295b519_2_32">
            <a:extLst>
              <a:ext uri="{FF2B5EF4-FFF2-40B4-BE49-F238E27FC236}">
                <a16:creationId xmlns:a16="http://schemas.microsoft.com/office/drawing/2014/main" id="{30EA24A9-0A1B-7476-9799-4F16E568C2E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0BBDA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8326E91-00C0-CDD1-6D79-82D796D767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64239" y="601979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01194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53AC7BF3-02B9-EE48-A24D-01E986EF0CE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0241FC54-544E-E5EF-F40C-A1F7924DED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918592"/>
            <a:ext cx="10254343" cy="5927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600">
                <a:solidFill>
                  <a:srgbClr val="011947"/>
                </a:solidFill>
              </a:defRPr>
            </a:lvl1pPr>
          </a:lstStyle>
          <a:p>
            <a:r>
              <a:rPr lang="en-US"/>
              <a:t>Insert Heade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32FF46D-49A5-A6F3-E17B-A75BC98182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719888" y="2225675"/>
            <a:ext cx="4741862" cy="3043238"/>
          </a:xfrm>
        </p:spPr>
        <p:txBody>
          <a:bodyPr/>
          <a:lstStyle>
            <a:lvl1pPr marL="227013" indent="-227013">
              <a:buClr>
                <a:schemeClr val="bg2"/>
              </a:buCl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 </a:t>
            </a:r>
            <a:br>
              <a:rPr lang="en-US"/>
            </a:br>
            <a:endParaRPr lang="en-US"/>
          </a:p>
          <a:p>
            <a:pPr lvl="0"/>
            <a:endParaRPr lang="en-US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0DA3490F-DF36-A97C-3042-E957D2C5CE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27850" y="2225675"/>
            <a:ext cx="4741862" cy="3043238"/>
          </a:xfrm>
        </p:spPr>
        <p:txBody>
          <a:bodyPr/>
          <a:lstStyle>
            <a:lvl1pPr marL="227013" indent="-227013">
              <a:buClr>
                <a:schemeClr val="bg2"/>
              </a:buCl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 </a:t>
            </a:r>
            <a:br>
              <a:rPr lang="en-US"/>
            </a:b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70131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311;g1d9b295b519_2_274">
            <a:extLst>
              <a:ext uri="{FF2B5EF4-FFF2-40B4-BE49-F238E27FC236}">
                <a16:creationId xmlns:a16="http://schemas.microsoft.com/office/drawing/2014/main" id="{319441B3-9EFE-F9BE-2D75-54A470C64AA5}"/>
              </a:ext>
            </a:extLst>
          </p:cNvPr>
          <p:cNvSpPr/>
          <p:nvPr userDrawn="1"/>
        </p:nvSpPr>
        <p:spPr>
          <a:xfrm>
            <a:off x="4193178" y="1773382"/>
            <a:ext cx="7998823" cy="5084618"/>
          </a:xfrm>
          <a:prstGeom prst="rect">
            <a:avLst/>
          </a:prstGeom>
          <a:solidFill>
            <a:srgbClr val="02194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D94C914-AC6B-DBAC-BB5F-4BFB1F6273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64239" y="601979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53AC7BF3-02B9-EE48-A24D-01E986EF0CE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F8C38EE-57D4-F61B-8131-0B45412AA472}"/>
              </a:ext>
            </a:extLst>
          </p:cNvPr>
          <p:cNvSpPr/>
          <p:nvPr userDrawn="1"/>
        </p:nvSpPr>
        <p:spPr>
          <a:xfrm>
            <a:off x="0" y="1773382"/>
            <a:ext cx="4193178" cy="508461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73173B48-3A93-C858-230F-E94F553261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2118" y="657802"/>
            <a:ext cx="10985319" cy="5927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600">
                <a:solidFill>
                  <a:srgbClr val="8ED9F8"/>
                </a:solidFill>
              </a:defRPr>
            </a:lvl1pPr>
          </a:lstStyle>
          <a:p>
            <a:r>
              <a:rPr lang="en-US"/>
              <a:t>Insert Header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7DBCEAE-E501-A2B5-7F84-2DCFF143436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282" y="2186970"/>
            <a:ext cx="3452137" cy="3043238"/>
          </a:xfrm>
        </p:spPr>
        <p:txBody>
          <a:bodyPr>
            <a:noAutofit/>
          </a:bodyPr>
          <a:lstStyle>
            <a:lvl1pPr marL="227013" indent="-227013">
              <a:buClr>
                <a:schemeClr val="bg2"/>
              </a:buClr>
              <a:defRPr sz="16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 </a:t>
            </a:r>
            <a:br>
              <a:rPr lang="en-US"/>
            </a:br>
            <a:endParaRPr lang="en-US"/>
          </a:p>
          <a:p>
            <a:pPr lvl="0"/>
            <a:endParaRPr lang="en-US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187BBC4A-AF70-5E11-F565-0A7634AEC9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40452" y="2120369"/>
            <a:ext cx="6866985" cy="3043238"/>
          </a:xfrm>
        </p:spPr>
        <p:txBody>
          <a:bodyPr>
            <a:noAutofit/>
          </a:bodyPr>
          <a:lstStyle>
            <a:lvl1pPr marL="227013" indent="-227013">
              <a:buClr>
                <a:srgbClr val="6BC4E8"/>
              </a:buCl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 </a:t>
            </a:r>
            <a:br>
              <a:rPr lang="en-US"/>
            </a:b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48533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oogle Shape;310;g1d9b295b519_2_274" descr="A cruise ship on the water&#10;&#10;Description automatically generated with low confidence">
            <a:extLst>
              <a:ext uri="{FF2B5EF4-FFF2-40B4-BE49-F238E27FC236}">
                <a16:creationId xmlns:a16="http://schemas.microsoft.com/office/drawing/2014/main" id="{24DECC78-057E-C850-B1E0-19C71E0ADC59}"/>
              </a:ext>
            </a:extLst>
          </p:cNvPr>
          <p:cNvPicPr preferRelativeResize="0"/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90686"/>
            <a:ext cx="4777741" cy="5167313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Google Shape;311;g1d9b295b519_2_274">
            <a:extLst>
              <a:ext uri="{FF2B5EF4-FFF2-40B4-BE49-F238E27FC236}">
                <a16:creationId xmlns:a16="http://schemas.microsoft.com/office/drawing/2014/main" id="{319441B3-9EFE-F9BE-2D75-54A470C64AA5}"/>
              </a:ext>
            </a:extLst>
          </p:cNvPr>
          <p:cNvSpPr/>
          <p:nvPr userDrawn="1"/>
        </p:nvSpPr>
        <p:spPr>
          <a:xfrm>
            <a:off x="4777741" y="1690688"/>
            <a:ext cx="7414260" cy="5167312"/>
          </a:xfrm>
          <a:prstGeom prst="rect">
            <a:avLst/>
          </a:prstGeom>
          <a:solidFill>
            <a:srgbClr val="02194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01194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C3E3A5EE-327A-0321-417D-A0939E230A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3657" y="499255"/>
            <a:ext cx="11451771" cy="9158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600">
                <a:solidFill>
                  <a:srgbClr val="8ED9F8"/>
                </a:solidFill>
              </a:defRPr>
            </a:lvl1pPr>
          </a:lstStyle>
          <a:p>
            <a:r>
              <a:rPr lang="en-US"/>
              <a:t>Insert Header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12DA0D8-0899-43AF-EDC0-320749BA9E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64239" y="601979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53AC7BF3-02B9-EE48-A24D-01E986EF0CE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289E8FB4-F360-2A13-1B02-F7D25A78D5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20878" y="2111375"/>
            <a:ext cx="5569635" cy="830006"/>
          </a:xfrm>
        </p:spPr>
        <p:txBody>
          <a:bodyPr>
            <a:normAutofit/>
          </a:bodyPr>
          <a:lstStyle>
            <a:lvl1pPr marL="0" indent="0">
              <a:buNone/>
              <a:defRPr sz="3600" b="1">
                <a:solidFill>
                  <a:srgbClr val="8ED9F8"/>
                </a:solidFill>
              </a:defRPr>
            </a:lvl1pPr>
          </a:lstStyle>
          <a:p>
            <a:pPr lvl="0"/>
            <a:r>
              <a:rPr lang="en-US"/>
              <a:t>Insert Header</a:t>
            </a:r>
          </a:p>
        </p:txBody>
      </p:sp>
      <p:sp>
        <p:nvSpPr>
          <p:cNvPr id="7" name="Picture Placeholder 11">
            <a:extLst>
              <a:ext uri="{FF2B5EF4-FFF2-40B4-BE49-F238E27FC236}">
                <a16:creationId xmlns:a16="http://schemas.microsoft.com/office/drawing/2014/main" id="{73AEDABB-3CDE-C915-FA87-EE180D5026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-9236" y="1690686"/>
            <a:ext cx="4777741" cy="5167314"/>
          </a:xfrm>
        </p:spPr>
        <p:txBody>
          <a:bodyPr anchor="ctr">
            <a:normAutofit/>
          </a:bodyPr>
          <a:lstStyle>
            <a:lvl1pPr marL="0" indent="0" algn="ctr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ADD PHOTO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D677EADE-2E45-C063-403C-6A5421CE2C3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17028" y="3216925"/>
            <a:ext cx="5569635" cy="2700064"/>
          </a:xfrm>
        </p:spPr>
        <p:txBody>
          <a:bodyPr>
            <a:noAutofit/>
          </a:bodyPr>
          <a:lstStyle>
            <a:lvl1pPr marL="227013" indent="-227013">
              <a:buClr>
                <a:srgbClr val="6BC4E8"/>
              </a:buCl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 </a:t>
            </a:r>
            <a:br>
              <a:rPr lang="en-US"/>
            </a:b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8415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oogle Shape;370;g1d9b295b519_2_330" descr="A picture containing water, outdoor, sky, boat&#10;&#10;Description automatically generated">
            <a:extLst>
              <a:ext uri="{FF2B5EF4-FFF2-40B4-BE49-F238E27FC236}">
                <a16:creationId xmlns:a16="http://schemas.microsoft.com/office/drawing/2014/main" id="{E4A79B7C-2BB6-F6A2-A28C-35D9510002C5}"/>
              </a:ext>
            </a:extLst>
          </p:cNvPr>
          <p:cNvPicPr preferRelativeResize="0"/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4193180" cy="6872288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Google Shape;311;g1d9b295b519_2_274">
            <a:extLst>
              <a:ext uri="{FF2B5EF4-FFF2-40B4-BE49-F238E27FC236}">
                <a16:creationId xmlns:a16="http://schemas.microsoft.com/office/drawing/2014/main" id="{319441B3-9EFE-F9BE-2D75-54A470C64AA5}"/>
              </a:ext>
            </a:extLst>
          </p:cNvPr>
          <p:cNvSpPr/>
          <p:nvPr userDrawn="1"/>
        </p:nvSpPr>
        <p:spPr>
          <a:xfrm>
            <a:off x="4193178" y="0"/>
            <a:ext cx="7998823" cy="6858000"/>
          </a:xfrm>
          <a:prstGeom prst="rect">
            <a:avLst/>
          </a:prstGeom>
          <a:solidFill>
            <a:srgbClr val="02194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D94C914-AC6B-DBAC-BB5F-4BFB1F6273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64239" y="601979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53AC7BF3-02B9-EE48-A24D-01E986EF0CE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D81B466-78BD-8395-D422-536AE81E7A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46157" y="1042019"/>
            <a:ext cx="5971020" cy="132556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600" b="1" i="0">
                <a:solidFill>
                  <a:srgbClr val="8ED9F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Insert Header</a:t>
            </a:r>
          </a:p>
        </p:txBody>
      </p:sp>
      <p:sp>
        <p:nvSpPr>
          <p:cNvPr id="5" name="Picture Placeholder 11">
            <a:extLst>
              <a:ext uri="{FF2B5EF4-FFF2-40B4-BE49-F238E27FC236}">
                <a16:creationId xmlns:a16="http://schemas.microsoft.com/office/drawing/2014/main" id="{0C0A9225-EC0E-09C1-19C6-497159CA4C0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-9236" y="0"/>
            <a:ext cx="4193177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ADD PHOTO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CC98A6D-EF7A-770B-7E5C-F0F42A21E78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1600" y="2627086"/>
            <a:ext cx="6005063" cy="3289903"/>
          </a:xfrm>
        </p:spPr>
        <p:txBody>
          <a:bodyPr>
            <a:noAutofit/>
          </a:bodyPr>
          <a:lstStyle>
            <a:lvl1pPr marL="227013" indent="-227013">
              <a:buClr>
                <a:srgbClr val="6BC4E8"/>
              </a:buCl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 </a:t>
            </a:r>
            <a:br>
              <a:rPr lang="en-US"/>
            </a:b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82498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60;g1d9b295b519_2_32">
            <a:extLst>
              <a:ext uri="{FF2B5EF4-FFF2-40B4-BE49-F238E27FC236}">
                <a16:creationId xmlns:a16="http://schemas.microsoft.com/office/drawing/2014/main" id="{59B1791F-E173-C1BE-33CD-D637BFC7F525}"/>
              </a:ext>
            </a:extLst>
          </p:cNvPr>
          <p:cNvSpPr/>
          <p:nvPr userDrawn="1"/>
        </p:nvSpPr>
        <p:spPr>
          <a:xfrm>
            <a:off x="4193178" y="0"/>
            <a:ext cx="7998822" cy="6858000"/>
          </a:xfrm>
          <a:prstGeom prst="rect">
            <a:avLst/>
          </a:prstGeom>
          <a:solidFill>
            <a:srgbClr val="70BBDA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" name="Google Shape;355;g1d9b295b519_2_316" descr="A picture containing sky, water, outdoor, boat&#10;&#10;Description automatically generated">
            <a:extLst>
              <a:ext uri="{FF2B5EF4-FFF2-40B4-BE49-F238E27FC236}">
                <a16:creationId xmlns:a16="http://schemas.microsoft.com/office/drawing/2014/main" id="{C7435931-D816-C3AD-A578-9B9C2517F195}"/>
              </a:ext>
            </a:extLst>
          </p:cNvPr>
          <p:cNvPicPr preferRelativeResize="0"/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193178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D94C914-AC6B-DBAC-BB5F-4BFB1F6273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64239" y="601979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53AC7BF3-02B9-EE48-A24D-01E986EF0CE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FD58EE1F-BD64-8CF2-7CF6-316A195554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46157" y="1042019"/>
            <a:ext cx="5971020" cy="132556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600" b="1" i="0">
                <a:solidFill>
                  <a:srgbClr val="01194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Insert Header</a:t>
            </a:r>
          </a:p>
        </p:txBody>
      </p:sp>
      <p:sp>
        <p:nvSpPr>
          <p:cNvPr id="6" name="Picture Placeholder 11">
            <a:extLst>
              <a:ext uri="{FF2B5EF4-FFF2-40B4-BE49-F238E27FC236}">
                <a16:creationId xmlns:a16="http://schemas.microsoft.com/office/drawing/2014/main" id="{F68DB966-1DC6-90EC-8EA9-A6318513400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-1088" y="0"/>
            <a:ext cx="4193177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ADD PHOTO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947C60ED-DA75-B3BF-D9EF-E83B2419294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81600" y="2627086"/>
            <a:ext cx="6005063" cy="3289903"/>
          </a:xfrm>
        </p:spPr>
        <p:txBody>
          <a:bodyPr>
            <a:noAutofit/>
          </a:bodyPr>
          <a:lstStyle>
            <a:lvl1pPr marL="227013" indent="-227013">
              <a:buClr>
                <a:schemeClr val="bg2"/>
              </a:buCl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 </a:t>
            </a:r>
            <a:br>
              <a:rPr lang="en-US"/>
            </a:b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18928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oogle Shape;70;g1d9b295b519_2_41">
            <a:extLst>
              <a:ext uri="{FF2B5EF4-FFF2-40B4-BE49-F238E27FC236}">
                <a16:creationId xmlns:a16="http://schemas.microsoft.com/office/drawing/2014/main" id="{556DDF4A-B6FC-93F2-E3DB-EE0676086D4E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-13885" y="1714"/>
            <a:ext cx="12273280" cy="690372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Title 2">
            <a:extLst>
              <a:ext uri="{FF2B5EF4-FFF2-40B4-BE49-F238E27FC236}">
                <a16:creationId xmlns:a16="http://schemas.microsoft.com/office/drawing/2014/main" id="{32F0B7DE-FE74-C07D-C7A8-70235BCC0B90}"/>
              </a:ext>
            </a:extLst>
          </p:cNvPr>
          <p:cNvSpPr txBox="1">
            <a:spLocks/>
          </p:cNvSpPr>
          <p:nvPr userDrawn="1"/>
        </p:nvSpPr>
        <p:spPr>
          <a:xfrm>
            <a:off x="0" y="2942376"/>
            <a:ext cx="12192000" cy="76529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Content Placeholder 5">
            <a:extLst>
              <a:ext uri="{FF2B5EF4-FFF2-40B4-BE49-F238E27FC236}">
                <a16:creationId xmlns:a16="http://schemas.microsoft.com/office/drawing/2014/main" id="{F1CBD039-0B0C-8C41-6B23-598E6AF147E6}"/>
              </a:ext>
            </a:extLst>
          </p:cNvPr>
          <p:cNvSpPr txBox="1">
            <a:spLocks/>
          </p:cNvSpPr>
          <p:nvPr userDrawn="1"/>
        </p:nvSpPr>
        <p:spPr>
          <a:xfrm>
            <a:off x="1815313" y="3707675"/>
            <a:ext cx="8561373" cy="29954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0B739472-7E82-9003-9031-398D21A7EFD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755" y="1568364"/>
            <a:ext cx="12192000" cy="765299"/>
          </a:xfrm>
          <a:prstGeom prst="rect">
            <a:avLst/>
          </a:prstGeom>
        </p:spPr>
        <p:txBody>
          <a:bodyPr anchor="b">
            <a:noAutofit/>
          </a:bodyPr>
          <a:lstStyle>
            <a:lvl1pPr algn="ctr">
              <a:defRPr sz="4800" b="1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Divider 1</a:t>
            </a:r>
          </a:p>
        </p:txBody>
      </p:sp>
      <p:sp>
        <p:nvSpPr>
          <p:cNvPr id="26" name="Content Placeholder 10">
            <a:extLst>
              <a:ext uri="{FF2B5EF4-FFF2-40B4-BE49-F238E27FC236}">
                <a16:creationId xmlns:a16="http://schemas.microsoft.com/office/drawing/2014/main" id="{DEEAAE2F-6675-BC5D-30CE-CC8E5B7A44C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815313" y="2343278"/>
            <a:ext cx="8561373" cy="2995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dditional Information</a:t>
            </a: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AEA7EFE-97E5-B8D7-B397-71EED7A76F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64239" y="601979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53AC7BF3-02B9-EE48-A24D-01E986EF0CE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22369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oogle Shape;325;g1d9b295b519_2_288" descr="A cruise ship on the water&#10;&#10;Description automatically generated with medium confidence">
            <a:extLst>
              <a:ext uri="{FF2B5EF4-FFF2-40B4-BE49-F238E27FC236}">
                <a16:creationId xmlns:a16="http://schemas.microsoft.com/office/drawing/2014/main" id="{E2EAEE8F-AF4A-9325-6637-6D494EE9EA45}"/>
              </a:ext>
            </a:extLst>
          </p:cNvPr>
          <p:cNvPicPr preferRelativeResize="0"/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64828" y="-1"/>
            <a:ext cx="5127172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Google Shape;311;g1d9b295b519_2_274">
            <a:extLst>
              <a:ext uri="{FF2B5EF4-FFF2-40B4-BE49-F238E27FC236}">
                <a16:creationId xmlns:a16="http://schemas.microsoft.com/office/drawing/2014/main" id="{3805D288-96B8-6B8A-6262-E39FF84F49E2}"/>
              </a:ext>
            </a:extLst>
          </p:cNvPr>
          <p:cNvSpPr/>
          <p:nvPr userDrawn="1"/>
        </p:nvSpPr>
        <p:spPr>
          <a:xfrm>
            <a:off x="1" y="0"/>
            <a:ext cx="7064828" cy="6858000"/>
          </a:xfrm>
          <a:prstGeom prst="rect">
            <a:avLst/>
          </a:prstGeom>
          <a:solidFill>
            <a:srgbClr val="02194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5ACDFA53-3DF5-4394-940A-72D86DDF7D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1252" y="2100960"/>
            <a:ext cx="4608210" cy="132556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800" b="1" i="0">
                <a:solidFill>
                  <a:srgbClr val="8ED9F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Divider 2</a:t>
            </a:r>
          </a:p>
        </p:txBody>
      </p:sp>
      <p:sp>
        <p:nvSpPr>
          <p:cNvPr id="18" name="Content Placeholder 10">
            <a:extLst>
              <a:ext uri="{FF2B5EF4-FFF2-40B4-BE49-F238E27FC236}">
                <a16:creationId xmlns:a16="http://schemas.microsoft.com/office/drawing/2014/main" id="{B3D1EF25-7745-4091-FB18-F4940B8F469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049318" y="3494162"/>
            <a:ext cx="4608211" cy="3377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ubtitle goes here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39B5E9-A0C6-F9B7-B984-F09972063D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64239" y="601979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53AC7BF3-02B9-EE48-A24D-01E986EF0CE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Picture Placeholder 11">
            <a:extLst>
              <a:ext uri="{FF2B5EF4-FFF2-40B4-BE49-F238E27FC236}">
                <a16:creationId xmlns:a16="http://schemas.microsoft.com/office/drawing/2014/main" id="{5A9EAE26-1088-B634-A227-0F01B29D613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067315" y="0"/>
            <a:ext cx="5105830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11947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</a:t>
            </a:r>
            <a:br>
              <a:rPr lang="en-US"/>
            </a:br>
            <a:r>
              <a:rPr lang="en-US"/>
              <a:t>ADD PHOTO</a:t>
            </a:r>
          </a:p>
        </p:txBody>
      </p:sp>
    </p:spTree>
    <p:extLst>
      <p:ext uri="{BB962C8B-B14F-4D97-AF65-F5344CB8AC3E}">
        <p14:creationId xmlns:p14="http://schemas.microsoft.com/office/powerpoint/2010/main" val="9798697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oogle Shape;43;p1" descr="A picture containing water, outdoor, sky, ocean&#10;&#10;Description automatically generated">
            <a:extLst>
              <a:ext uri="{FF2B5EF4-FFF2-40B4-BE49-F238E27FC236}">
                <a16:creationId xmlns:a16="http://schemas.microsoft.com/office/drawing/2014/main" id="{6702EBFB-8F7B-53B0-6255-23DAD461ECAB}"/>
              </a:ext>
            </a:extLst>
          </p:cNvPr>
          <p:cNvPicPr preferRelativeResize="0"/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52" cy="6858000"/>
          </a:xfrm>
          <a:prstGeom prst="rect">
            <a:avLst/>
          </a:prstGeom>
          <a:solidFill>
            <a:srgbClr val="E31836"/>
          </a:solidFill>
          <a:ln>
            <a:noFill/>
          </a:ln>
        </p:spPr>
      </p:pic>
      <p:sp>
        <p:nvSpPr>
          <p:cNvPr id="2" name="Google Shape;311;g1d9b295b519_2_274">
            <a:extLst>
              <a:ext uri="{FF2B5EF4-FFF2-40B4-BE49-F238E27FC236}">
                <a16:creationId xmlns:a16="http://schemas.microsoft.com/office/drawing/2014/main" id="{BB488A0D-85E6-54FA-032C-29491F6B33D2}"/>
              </a:ext>
            </a:extLst>
          </p:cNvPr>
          <p:cNvSpPr/>
          <p:nvPr userDrawn="1"/>
        </p:nvSpPr>
        <p:spPr>
          <a:xfrm>
            <a:off x="9236" y="0"/>
            <a:ext cx="12165245" cy="6858000"/>
          </a:xfrm>
          <a:prstGeom prst="rect">
            <a:avLst/>
          </a:prstGeom>
          <a:solidFill>
            <a:srgbClr val="021947">
              <a:alpha val="6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32F0B7DE-FE74-C07D-C7A8-70235BCC0B90}"/>
              </a:ext>
            </a:extLst>
          </p:cNvPr>
          <p:cNvSpPr txBox="1">
            <a:spLocks/>
          </p:cNvSpPr>
          <p:nvPr userDrawn="1"/>
        </p:nvSpPr>
        <p:spPr>
          <a:xfrm>
            <a:off x="0" y="2942376"/>
            <a:ext cx="12192000" cy="76529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Content Placeholder 5">
            <a:extLst>
              <a:ext uri="{FF2B5EF4-FFF2-40B4-BE49-F238E27FC236}">
                <a16:creationId xmlns:a16="http://schemas.microsoft.com/office/drawing/2014/main" id="{F1CBD039-0B0C-8C41-6B23-598E6AF147E6}"/>
              </a:ext>
            </a:extLst>
          </p:cNvPr>
          <p:cNvSpPr txBox="1">
            <a:spLocks/>
          </p:cNvSpPr>
          <p:nvPr userDrawn="1"/>
        </p:nvSpPr>
        <p:spPr>
          <a:xfrm>
            <a:off x="1815313" y="3707675"/>
            <a:ext cx="8561373" cy="29954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0B739472-7E82-9003-9031-398D21A7EFD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755" y="2832134"/>
            <a:ext cx="12192000" cy="765299"/>
          </a:xfrm>
          <a:prstGeom prst="rect">
            <a:avLst/>
          </a:prstGeom>
        </p:spPr>
        <p:txBody>
          <a:bodyPr anchor="b">
            <a:noAutofit/>
          </a:bodyPr>
          <a:lstStyle>
            <a:lvl1pPr algn="ctr">
              <a:defRPr sz="4800" b="1" i="0">
                <a:solidFill>
                  <a:srgbClr val="8ED9F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Divider 3</a:t>
            </a:r>
          </a:p>
        </p:txBody>
      </p:sp>
      <p:sp>
        <p:nvSpPr>
          <p:cNvPr id="26" name="Content Placeholder 10">
            <a:extLst>
              <a:ext uri="{FF2B5EF4-FFF2-40B4-BE49-F238E27FC236}">
                <a16:creationId xmlns:a16="http://schemas.microsoft.com/office/drawing/2014/main" id="{DEEAAE2F-6675-BC5D-30CE-CC8E5B7A44C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1815313" y="3607048"/>
            <a:ext cx="8561373" cy="2995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dditional Information</a:t>
            </a: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AEA7EFE-97E5-B8D7-B397-71EED7A76F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64239" y="601979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53AC7BF3-02B9-EE48-A24D-01E986EF0CE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57353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oogle Shape;51;g1d9b295b519_2_23">
            <a:extLst>
              <a:ext uri="{FF2B5EF4-FFF2-40B4-BE49-F238E27FC236}">
                <a16:creationId xmlns:a16="http://schemas.microsoft.com/office/drawing/2014/main" id="{75E9D387-E49D-0BDC-C2A2-61632EE41D6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2194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" name="Google Shape;46;p1" descr="Text&#10;&#10;Description automatically generated with medium confidence">
            <a:extLst>
              <a:ext uri="{FF2B5EF4-FFF2-40B4-BE49-F238E27FC236}">
                <a16:creationId xmlns:a16="http://schemas.microsoft.com/office/drawing/2014/main" id="{8C81A62F-D700-E911-29A3-67682CBE7AC8}"/>
              </a:ext>
            </a:extLst>
          </p:cNvPr>
          <p:cNvPicPr preferRelativeResize="0"/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06902" y="1803930"/>
            <a:ext cx="4778196" cy="1853140"/>
          </a:xfrm>
          <a:prstGeom prst="rect">
            <a:avLst/>
          </a:prstGeom>
          <a:noFill/>
          <a:ln>
            <a:noFill/>
          </a:ln>
          <a:effectLst>
            <a:outerShdw blurRad="1270000" algn="ctr" rotWithShape="0">
              <a:srgbClr val="000000"/>
            </a:outerShdw>
          </a:effectLst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7B46231-F828-35A5-9D35-43E57B3069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282707"/>
            <a:ext cx="12192000" cy="35658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33670953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99258D3-AD0C-520E-A069-B558082F76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64239" y="601979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01194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53AC7BF3-02B9-EE48-A24D-01E986EF0CE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FAF626B-8AA4-D5E3-0715-14A784FF4D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2118" y="473077"/>
            <a:ext cx="10985319" cy="5927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600">
                <a:solidFill>
                  <a:srgbClr val="8ED9F8"/>
                </a:solidFill>
              </a:defRPr>
            </a:lvl1pPr>
          </a:lstStyle>
          <a:p>
            <a:r>
              <a:rPr lang="en-US"/>
              <a:t>Insert Header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B669C58F-A9A9-8A8A-05B9-0ADC7AB13F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2118" y="1513112"/>
            <a:ext cx="10985319" cy="424542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Clr>
                <a:srgbClr val="6BC4E8"/>
              </a:buClr>
              <a:buNone/>
              <a:defRPr sz="16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 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 </a:t>
            </a:r>
            <a:br>
              <a:rPr lang="en-US"/>
            </a:b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41892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99258D3-AD0C-520E-A069-B558082F76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64239" y="601979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01194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53AC7BF3-02B9-EE48-A24D-01E986EF0CE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FAF626B-8AA4-D5E3-0715-14A784FF4D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2119" y="473077"/>
            <a:ext cx="10985320" cy="5927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600">
                <a:solidFill>
                  <a:srgbClr val="8ED9F8"/>
                </a:solidFill>
              </a:defRPr>
            </a:lvl1pPr>
          </a:lstStyle>
          <a:p>
            <a:r>
              <a:rPr lang="en-US"/>
              <a:t>Insert Hea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F9F658-1756-4F31-BE4A-D7B310D12F5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2300" y="1487488"/>
            <a:ext cx="10985500" cy="4460875"/>
          </a:xfrm>
        </p:spPr>
        <p:txBody>
          <a:bodyPr/>
          <a:lstStyle>
            <a:lvl1pPr>
              <a:buClr>
                <a:srgbClr val="011947"/>
              </a:buClr>
              <a:defRPr/>
            </a:lvl1pPr>
            <a:lvl2pPr>
              <a:defRPr/>
            </a:lvl2pPr>
            <a:lvl3pPr>
              <a:defRPr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err="1"/>
              <a:t>Blandit</a:t>
            </a:r>
            <a:r>
              <a:rPr lang="en-US"/>
              <a:t> cursus </a:t>
            </a:r>
            <a:r>
              <a:rPr lang="en-US" err="1"/>
              <a:t>risus</a:t>
            </a:r>
            <a:r>
              <a:rPr lang="en-US"/>
              <a:t> at </a:t>
            </a:r>
            <a:r>
              <a:rPr lang="en-US" err="1"/>
              <a:t>ultrices</a:t>
            </a:r>
            <a:r>
              <a:rPr lang="en-US"/>
              <a:t> mi tempus </a:t>
            </a:r>
            <a:r>
              <a:rPr lang="en-US" err="1"/>
              <a:t>imperdiet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. </a:t>
            </a:r>
          </a:p>
          <a:p>
            <a:pPr lvl="1"/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blandit</a:t>
            </a:r>
            <a:r>
              <a:rPr lang="en-US"/>
              <a:t> </a:t>
            </a:r>
            <a:r>
              <a:rPr lang="en-US" err="1"/>
              <a:t>turpis</a:t>
            </a:r>
            <a:r>
              <a:rPr lang="en-US"/>
              <a:t> cursus in hac </a:t>
            </a:r>
            <a:r>
              <a:rPr lang="en-US" err="1"/>
              <a:t>habitasse</a:t>
            </a:r>
            <a:r>
              <a:rPr lang="en-US"/>
              <a:t> </a:t>
            </a:r>
            <a:r>
              <a:rPr lang="en-US" err="1"/>
              <a:t>platea</a:t>
            </a:r>
            <a:r>
              <a:rPr lang="en-US"/>
              <a:t> </a:t>
            </a:r>
            <a:r>
              <a:rPr lang="en-US" err="1"/>
              <a:t>dictumst</a:t>
            </a:r>
            <a:r>
              <a:rPr lang="en-US"/>
              <a:t> </a:t>
            </a:r>
            <a:r>
              <a:rPr lang="en-US" err="1"/>
              <a:t>quisque</a:t>
            </a:r>
            <a:r>
              <a:rPr lang="en-US"/>
              <a:t>. </a:t>
            </a:r>
          </a:p>
          <a:p>
            <a:pPr lvl="2"/>
            <a:r>
              <a:rPr lang="en-US" err="1"/>
              <a:t>Posuere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praesent</a:t>
            </a:r>
            <a:r>
              <a:rPr lang="en-US"/>
              <a:t> semper </a:t>
            </a:r>
            <a:r>
              <a:rPr lang="en-US" err="1"/>
              <a:t>feugiat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sed. </a:t>
            </a:r>
          </a:p>
          <a:p>
            <a:pPr lvl="3"/>
            <a:r>
              <a:rPr lang="en-US"/>
              <a:t>Nam libero </a:t>
            </a:r>
            <a:r>
              <a:rPr lang="en-US" err="1"/>
              <a:t>justo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 cursus sit </a:t>
            </a:r>
            <a:r>
              <a:rPr lang="en-US" err="1"/>
              <a:t>amet</a:t>
            </a:r>
            <a:r>
              <a:rPr lang="en-US"/>
              <a:t>. </a:t>
            </a:r>
          </a:p>
          <a:p>
            <a:pPr lvl="4"/>
            <a:r>
              <a:rPr lang="en-US" err="1"/>
              <a:t>Aliquet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praesent</a:t>
            </a:r>
            <a:r>
              <a:rPr lang="en-US"/>
              <a:t> </a:t>
            </a:r>
            <a:r>
              <a:rPr lang="en-US" err="1"/>
              <a:t>tristique</a:t>
            </a:r>
            <a:r>
              <a:rPr lang="en-US"/>
              <a:t> magna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purus</a:t>
            </a:r>
            <a:r>
              <a:rPr lang="en-US"/>
              <a:t>.  </a:t>
            </a:r>
          </a:p>
        </p:txBody>
      </p:sp>
    </p:spTree>
    <p:extLst>
      <p:ext uri="{BB962C8B-B14F-4D97-AF65-F5344CB8AC3E}">
        <p14:creationId xmlns:p14="http://schemas.microsoft.com/office/powerpoint/2010/main" val="39733770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99258D3-AD0C-520E-A069-B558082F76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64239" y="601979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01194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53AC7BF3-02B9-EE48-A24D-01E986EF0CE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FAF626B-8AA4-D5E3-0715-14A784FF4D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2119" y="473077"/>
            <a:ext cx="10985320" cy="5927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600">
                <a:solidFill>
                  <a:srgbClr val="8ED9F8"/>
                </a:solidFill>
              </a:defRPr>
            </a:lvl1pPr>
          </a:lstStyle>
          <a:p>
            <a:r>
              <a:rPr lang="en-US"/>
              <a:t>Insert Header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3A1590DE-8CC3-7095-3103-CC8A641CC3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119" y="2731919"/>
            <a:ext cx="2349681" cy="331788"/>
          </a:xfr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8ED9F8"/>
                </a:solidFill>
              </a:defRPr>
            </a:lvl1pPr>
          </a:lstStyle>
          <a:p>
            <a:pPr lvl="0"/>
            <a:r>
              <a:rPr lang="en-US"/>
              <a:t>Insert Title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A3D68B25-6C85-DC6E-5DD1-A77AF929E47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63642" y="2731919"/>
            <a:ext cx="2349681" cy="331788"/>
          </a:xfr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8ED9F8"/>
                </a:solidFill>
              </a:defRPr>
            </a:lvl1pPr>
          </a:lstStyle>
          <a:p>
            <a:pPr lvl="0"/>
            <a:r>
              <a:rPr lang="en-US"/>
              <a:t>Insert Title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A752FA50-3F6E-C23E-AA60-BDC74D0F00C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05165" y="2731919"/>
            <a:ext cx="2349681" cy="331788"/>
          </a:xfr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8ED9F8"/>
                </a:solidFill>
              </a:defRPr>
            </a:lvl1pPr>
          </a:lstStyle>
          <a:p>
            <a:pPr lvl="0"/>
            <a:r>
              <a:rPr lang="en-US"/>
              <a:t>Insert Title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82F5F770-07DB-8C45-0724-641D1DBEDAC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57758" y="2731919"/>
            <a:ext cx="2349681" cy="331788"/>
          </a:xfrm>
        </p:spPr>
        <p:txBody>
          <a:bodyPr>
            <a:noAutofit/>
          </a:bodyPr>
          <a:lstStyle>
            <a:lvl1pPr marL="0" indent="0" algn="l">
              <a:buNone/>
              <a:defRPr sz="2000" b="1">
                <a:solidFill>
                  <a:srgbClr val="8ED9F8"/>
                </a:solidFill>
              </a:defRPr>
            </a:lvl1pPr>
          </a:lstStyle>
          <a:p>
            <a:pPr lvl="0"/>
            <a:r>
              <a:rPr lang="en-US"/>
              <a:t>Insert 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8DAECB67-0F57-B0E8-5BAB-E42F9B236BD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7313" y="3255074"/>
            <a:ext cx="2349681" cy="1474766"/>
          </a:xfrm>
        </p:spPr>
        <p:txBody>
          <a:bodyPr>
            <a:noAutofit/>
          </a:bodyPr>
          <a:lstStyle>
            <a:lvl1pPr marL="0" indent="0">
              <a:buClr>
                <a:srgbClr val="6BC4E8"/>
              </a:buClr>
              <a:buNone/>
              <a:defRPr sz="13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 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B5052D15-5B13-7454-D9BB-764B7AA3154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58837" y="3232488"/>
            <a:ext cx="2349681" cy="1474766"/>
          </a:xfrm>
        </p:spPr>
        <p:txBody>
          <a:bodyPr>
            <a:noAutofit/>
          </a:bodyPr>
          <a:lstStyle>
            <a:lvl1pPr marL="0" indent="0">
              <a:buClr>
                <a:srgbClr val="6BC4E8"/>
              </a:buClr>
              <a:buNone/>
              <a:defRPr sz="13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3EB8AC2F-F1D1-392E-4C44-87C57D52E9C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95555" y="3231698"/>
            <a:ext cx="2349681" cy="1474766"/>
          </a:xfrm>
        </p:spPr>
        <p:txBody>
          <a:bodyPr>
            <a:noAutofit/>
          </a:bodyPr>
          <a:lstStyle>
            <a:lvl1pPr marL="0" indent="0">
              <a:buClr>
                <a:srgbClr val="6BC4E8"/>
              </a:buClr>
              <a:buNone/>
              <a:defRPr sz="13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 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4DD54C0F-FAA1-67C0-E11D-C0B4F060B3C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57758" y="3224465"/>
            <a:ext cx="2349681" cy="1474766"/>
          </a:xfrm>
        </p:spPr>
        <p:txBody>
          <a:bodyPr>
            <a:noAutofit/>
          </a:bodyPr>
          <a:lstStyle>
            <a:lvl1pPr marL="0" indent="0">
              <a:buClr>
                <a:srgbClr val="6BC4E8"/>
              </a:buClr>
              <a:buNone/>
              <a:defRPr sz="13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 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E11FE2CC-DAAD-CBBA-ED36-A9CFEF52883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7313" y="5027819"/>
            <a:ext cx="10985320" cy="690810"/>
          </a:xfrm>
        </p:spPr>
        <p:txBody>
          <a:bodyPr>
            <a:noAutofit/>
          </a:bodyPr>
          <a:lstStyle>
            <a:lvl1pPr marL="0" indent="0">
              <a:buClr>
                <a:srgbClr val="6BC4E8"/>
              </a:buClr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5697906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457162F-1B4E-6621-78CA-B24591DE0C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98823" y="1"/>
            <a:ext cx="4193177" cy="6858000"/>
          </a:xfrm>
          <a:prstGeom prst="rect">
            <a:avLst/>
          </a:prstGeom>
        </p:spPr>
      </p:pic>
      <p:sp>
        <p:nvSpPr>
          <p:cNvPr id="3" name="Picture Placeholder 11">
            <a:extLst>
              <a:ext uri="{FF2B5EF4-FFF2-40B4-BE49-F238E27FC236}">
                <a16:creationId xmlns:a16="http://schemas.microsoft.com/office/drawing/2014/main" id="{FD8E789C-C675-2F32-3321-2CBC69750DA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998823" y="0"/>
            <a:ext cx="4193177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ADD PHOTO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99258D3-AD0C-520E-A069-B558082F76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64239" y="601979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53AC7BF3-02B9-EE48-A24D-01E986EF0CE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FAF626B-8AA4-D5E3-0715-14A784FF4D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2118" y="473077"/>
            <a:ext cx="6783391" cy="5927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600">
                <a:solidFill>
                  <a:srgbClr val="8ED9F8"/>
                </a:solidFill>
              </a:defRPr>
            </a:lvl1pPr>
          </a:lstStyle>
          <a:p>
            <a:r>
              <a:rPr lang="en-US"/>
              <a:t>Insert Header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153258BA-8076-1A20-7248-AD0E9FFFFAD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02827" y="2666171"/>
            <a:ext cx="5802682" cy="673888"/>
          </a:xfrm>
        </p:spPr>
        <p:txBody>
          <a:bodyPr>
            <a:noAutofit/>
          </a:bodyPr>
          <a:lstStyle>
            <a:lvl1pPr marL="0" indent="0">
              <a:buClr>
                <a:srgbClr val="6BC4E8"/>
              </a:buClr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313DC06-F319-B389-5A3C-E4D3EAFF590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24599" y="3890814"/>
            <a:ext cx="5802682" cy="673888"/>
          </a:xfrm>
        </p:spPr>
        <p:txBody>
          <a:bodyPr>
            <a:noAutofit/>
          </a:bodyPr>
          <a:lstStyle>
            <a:lvl1pPr marL="0" indent="0">
              <a:buClr>
                <a:srgbClr val="6BC4E8"/>
              </a:buClr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 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4EC211E1-AB57-9F96-D0CC-CB53ABFDA8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602827" y="5115457"/>
            <a:ext cx="5802682" cy="673888"/>
          </a:xfrm>
        </p:spPr>
        <p:txBody>
          <a:bodyPr>
            <a:noAutofit/>
          </a:bodyPr>
          <a:lstStyle>
            <a:lvl1pPr marL="0" indent="0">
              <a:buClr>
                <a:srgbClr val="6BC4E8"/>
              </a:buClr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 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60C57AC-CE30-32A1-7DCB-142FCBD30E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2117" y="1286932"/>
            <a:ext cx="6783391" cy="1023130"/>
          </a:xfrm>
        </p:spPr>
        <p:txBody>
          <a:bodyPr>
            <a:noAutofit/>
          </a:bodyPr>
          <a:lstStyle>
            <a:lvl1pPr marL="0" indent="0">
              <a:buClr>
                <a:srgbClr val="6BC4E8"/>
              </a:buClr>
              <a:buNone/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9263758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oogle Shape;310;g1d9b295b519_2_274" descr="A cruise ship on the water&#10;&#10;Description automatically generated with low confidence">
            <a:extLst>
              <a:ext uri="{FF2B5EF4-FFF2-40B4-BE49-F238E27FC236}">
                <a16:creationId xmlns:a16="http://schemas.microsoft.com/office/drawing/2014/main" id="{24DECC78-057E-C850-B1E0-19C71E0ADC59}"/>
              </a:ext>
            </a:extLst>
          </p:cNvPr>
          <p:cNvPicPr preferRelativeResize="0"/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90686"/>
            <a:ext cx="4777741" cy="5167313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C3E3A5EE-327A-0321-417D-A0939E230A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3657" y="499255"/>
            <a:ext cx="11451771" cy="9158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600">
                <a:solidFill>
                  <a:srgbClr val="8ED9F8"/>
                </a:solidFill>
              </a:defRPr>
            </a:lvl1pPr>
          </a:lstStyle>
          <a:p>
            <a:r>
              <a:rPr lang="en-US"/>
              <a:t>Insert Header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12DA0D8-0899-43AF-EDC0-320749BA9E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64239" y="601979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53AC7BF3-02B9-EE48-A24D-01E986EF0CE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289E8FB4-F360-2A13-1B02-F7D25A78D5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20878" y="2111375"/>
            <a:ext cx="5569635" cy="830006"/>
          </a:xfrm>
        </p:spPr>
        <p:txBody>
          <a:bodyPr>
            <a:normAutofit/>
          </a:bodyPr>
          <a:lstStyle>
            <a:lvl1pPr marL="0" indent="0">
              <a:buNone/>
              <a:defRPr sz="3600" b="1">
                <a:solidFill>
                  <a:srgbClr val="8ED9F8"/>
                </a:solidFill>
              </a:defRPr>
            </a:lvl1pPr>
          </a:lstStyle>
          <a:p>
            <a:pPr lvl="0"/>
            <a:r>
              <a:rPr lang="en-US"/>
              <a:t>Insert Header</a:t>
            </a:r>
          </a:p>
        </p:txBody>
      </p:sp>
      <p:sp>
        <p:nvSpPr>
          <p:cNvPr id="7" name="Picture Placeholder 11">
            <a:extLst>
              <a:ext uri="{FF2B5EF4-FFF2-40B4-BE49-F238E27FC236}">
                <a16:creationId xmlns:a16="http://schemas.microsoft.com/office/drawing/2014/main" id="{73AEDABB-3CDE-C915-FA87-EE180D5026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-9236" y="1690686"/>
            <a:ext cx="4777741" cy="5167314"/>
          </a:xfrm>
        </p:spPr>
        <p:txBody>
          <a:bodyPr anchor="ctr">
            <a:normAutofit/>
          </a:bodyPr>
          <a:lstStyle>
            <a:lvl1pPr marL="0" indent="0" algn="ctr">
              <a:buNone/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ADD PHOTO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92C26C9-8680-84B4-23DE-37B693B52D42}"/>
              </a:ext>
            </a:extLst>
          </p:cNvPr>
          <p:cNvCxnSpPr/>
          <p:nvPr userDrawn="1"/>
        </p:nvCxnSpPr>
        <p:spPr>
          <a:xfrm>
            <a:off x="-2" y="1690688"/>
            <a:ext cx="12192002" cy="0"/>
          </a:xfrm>
          <a:prstGeom prst="line">
            <a:avLst/>
          </a:prstGeom>
          <a:ln w="38100">
            <a:solidFill>
              <a:srgbClr val="111C4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B68A12DC-025C-E354-222C-7CE059B31B7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17028" y="3216925"/>
            <a:ext cx="5569635" cy="2700064"/>
          </a:xfrm>
        </p:spPr>
        <p:txBody>
          <a:bodyPr>
            <a:noAutofit/>
          </a:bodyPr>
          <a:lstStyle>
            <a:lvl1pPr marL="227013" indent="-227013">
              <a:buClr>
                <a:srgbClr val="6BC4E8"/>
              </a:buCl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 </a:t>
            </a:r>
            <a:br>
              <a:rPr lang="en-US"/>
            </a:b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7789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oogle Shape;310;g1d9b295b519_2_274" descr="A cruise ship on the water&#10;&#10;Description automatically generated with low confidence">
            <a:extLst>
              <a:ext uri="{FF2B5EF4-FFF2-40B4-BE49-F238E27FC236}">
                <a16:creationId xmlns:a16="http://schemas.microsoft.com/office/drawing/2014/main" id="{24DECC78-057E-C850-B1E0-19C71E0ADC59}"/>
              </a:ext>
            </a:extLst>
          </p:cNvPr>
          <p:cNvPicPr preferRelativeResize="0"/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90686"/>
            <a:ext cx="4777741" cy="5167313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C3E3A5EE-327A-0321-417D-A0939E230A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3657" y="499255"/>
            <a:ext cx="11451771" cy="9158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Insert Header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12DA0D8-0899-43AF-EDC0-320749BA9E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64239" y="601979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53AC7BF3-02B9-EE48-A24D-01E986EF0CE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289E8FB4-F360-2A13-1B02-F7D25A78D5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20878" y="2111375"/>
            <a:ext cx="5569635" cy="830006"/>
          </a:xfrm>
        </p:spPr>
        <p:txBody>
          <a:bodyPr>
            <a:normAutofit/>
          </a:bodyPr>
          <a:lstStyle>
            <a:lvl1pPr marL="0" indent="0">
              <a:buNone/>
              <a:defRPr sz="3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Insert Header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992C26C9-8680-84B4-23DE-37B693B52D42}"/>
              </a:ext>
            </a:extLst>
          </p:cNvPr>
          <p:cNvCxnSpPr/>
          <p:nvPr userDrawn="1"/>
        </p:nvCxnSpPr>
        <p:spPr>
          <a:xfrm>
            <a:off x="-2" y="1690688"/>
            <a:ext cx="12192002" cy="0"/>
          </a:xfrm>
          <a:prstGeom prst="line">
            <a:avLst/>
          </a:prstGeom>
          <a:ln w="38100">
            <a:solidFill>
              <a:srgbClr val="6BC4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96D1D9D6-430E-2FF0-6647-41AFAE8B57B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17028" y="3216925"/>
            <a:ext cx="5569635" cy="2700064"/>
          </a:xfrm>
        </p:spPr>
        <p:txBody>
          <a:bodyPr>
            <a:noAutofit/>
          </a:bodyPr>
          <a:lstStyle>
            <a:lvl1pPr marL="227013" indent="-227013">
              <a:buClr>
                <a:srgbClr val="6BC4E8"/>
              </a:buCl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 </a:t>
            </a:r>
            <a:br>
              <a:rPr lang="en-US"/>
            </a:br>
            <a:endParaRPr lang="en-US"/>
          </a:p>
          <a:p>
            <a:pPr lvl="0"/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8EC2503-3A87-2218-7889-6BCD28A2B91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-9525" y="1690688"/>
            <a:ext cx="4787900" cy="5167312"/>
          </a:xfrm>
        </p:spPr>
        <p:txBody>
          <a:bodyPr anchor="ctr">
            <a:normAutofit/>
          </a:bodyPr>
          <a:lstStyle>
            <a:lvl1pPr marL="0" indent="0" algn="ctr">
              <a:buNone/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ADD PHOTO</a:t>
            </a:r>
          </a:p>
        </p:txBody>
      </p:sp>
    </p:spTree>
    <p:extLst>
      <p:ext uri="{BB962C8B-B14F-4D97-AF65-F5344CB8AC3E}">
        <p14:creationId xmlns:p14="http://schemas.microsoft.com/office/powerpoint/2010/main" val="28837949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311;g1d9b295b519_2_274">
            <a:extLst>
              <a:ext uri="{FF2B5EF4-FFF2-40B4-BE49-F238E27FC236}">
                <a16:creationId xmlns:a16="http://schemas.microsoft.com/office/drawing/2014/main" id="{319441B3-9EFE-F9BE-2D75-54A470C64AA5}"/>
              </a:ext>
            </a:extLst>
          </p:cNvPr>
          <p:cNvSpPr/>
          <p:nvPr userDrawn="1"/>
        </p:nvSpPr>
        <p:spPr>
          <a:xfrm>
            <a:off x="0" y="0"/>
            <a:ext cx="12192001" cy="6858000"/>
          </a:xfrm>
          <a:prstGeom prst="rect">
            <a:avLst/>
          </a:prstGeom>
          <a:solidFill>
            <a:srgbClr val="02194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8326E91-00C0-CDD1-6D79-82D796D767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64239" y="601979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53AC7BF3-02B9-EE48-A24D-01E986EF0CE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0241FC54-544E-E5EF-F40C-A1F7924DED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43000" y="918592"/>
            <a:ext cx="10254343" cy="5927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3600">
                <a:solidFill>
                  <a:srgbClr val="8ED9F8"/>
                </a:solidFill>
              </a:defRPr>
            </a:lvl1pPr>
          </a:lstStyle>
          <a:p>
            <a:r>
              <a:rPr lang="en-US"/>
              <a:t>Insert Header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34FD26A1-D510-8798-03B2-F2566027D4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719888" y="2225675"/>
            <a:ext cx="4741862" cy="3043238"/>
          </a:xfrm>
        </p:spPr>
        <p:txBody>
          <a:bodyPr/>
          <a:lstStyle>
            <a:lvl1pPr marL="227013" indent="-227013">
              <a:buClr>
                <a:schemeClr val="bg1"/>
              </a:buCl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 </a:t>
            </a:r>
            <a:br>
              <a:rPr lang="en-US"/>
            </a:br>
            <a:endParaRPr lang="en-US"/>
          </a:p>
          <a:p>
            <a:pPr lvl="0"/>
            <a:endParaRPr lang="en-US"/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6DF19E1F-322A-3A7B-6E14-654B253187A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27850" y="2225675"/>
            <a:ext cx="4741862" cy="3043238"/>
          </a:xfrm>
        </p:spPr>
        <p:txBody>
          <a:bodyPr/>
          <a:lstStyle>
            <a:lvl1pPr marL="227013" indent="-227013">
              <a:buClr>
                <a:schemeClr val="bg1"/>
              </a:buCl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 magna </a:t>
            </a:r>
            <a:r>
              <a:rPr lang="en-US" err="1"/>
              <a:t>aliqua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exercitation </a:t>
            </a:r>
            <a:r>
              <a:rPr lang="en-US" err="1"/>
              <a:t>ullamco</a:t>
            </a:r>
            <a:r>
              <a:rPr lang="en-US"/>
              <a:t> </a:t>
            </a:r>
            <a:r>
              <a:rPr lang="en-US" err="1"/>
              <a:t>laboris</a:t>
            </a:r>
            <a:r>
              <a:rPr lang="en-US"/>
              <a:t> nisi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Duis </a:t>
            </a:r>
            <a:r>
              <a:rPr lang="en-US" err="1"/>
              <a:t>aute</a:t>
            </a:r>
            <a:r>
              <a:rPr lang="en-US"/>
              <a:t> </a:t>
            </a:r>
            <a:r>
              <a:rPr lang="en-US" err="1"/>
              <a:t>irure</a:t>
            </a:r>
            <a:r>
              <a:rPr lang="en-US"/>
              <a:t> dolor in </a:t>
            </a:r>
            <a:r>
              <a:rPr lang="en-US" err="1"/>
              <a:t>reprehenderit</a:t>
            </a:r>
            <a:r>
              <a:rPr lang="en-US"/>
              <a:t> in </a:t>
            </a:r>
            <a:r>
              <a:rPr lang="en-US" err="1"/>
              <a:t>voluptate</a:t>
            </a:r>
            <a:r>
              <a:rPr lang="en-US"/>
              <a:t> </a:t>
            </a:r>
            <a:r>
              <a:rPr lang="en-US" err="1"/>
              <a:t>velit</a:t>
            </a:r>
            <a:r>
              <a:rPr lang="en-US"/>
              <a:t> </a:t>
            </a:r>
            <a:r>
              <a:rPr lang="en-US" err="1"/>
              <a:t>esse</a:t>
            </a:r>
            <a:r>
              <a:rPr lang="en-US"/>
              <a:t> </a:t>
            </a:r>
            <a:r>
              <a:rPr lang="en-US" err="1"/>
              <a:t>cillum</a:t>
            </a:r>
            <a:r>
              <a:rPr lang="en-US"/>
              <a:t>. </a:t>
            </a:r>
            <a:br>
              <a:rPr lang="en-US"/>
            </a:b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48436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6F30409-8FEB-C5FF-3769-7E81642004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9877379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36" imgH="336" progId="TCLayout.ActiveDocument.1">
                  <p:embed/>
                </p:oleObj>
              </mc:Choice>
              <mc:Fallback>
                <p:oleObj name="think-cell Slide" r:id="rId20" imgW="336" imgH="33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6F30409-8FEB-C5FF-3769-7E81642004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D273E00-15D7-3638-9C9E-9C192A7DED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0349" y="365125"/>
            <a:ext cx="11037090" cy="6508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F615AC-7453-861E-05DD-66B94B7BA9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0349" y="1477818"/>
            <a:ext cx="11037090" cy="45419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11947"/>
              </a:buClr>
              <a:buSzTx/>
              <a:buFont typeface="Tahoma" panose="020B0604030504040204" pitchFamily="34" charset="0"/>
              <a:buChar char="‒"/>
              <a:tabLst/>
              <a:defRPr/>
            </a:pPr>
            <a:r>
              <a:rPr lang="en-US"/>
              <a:t>Click to edit Master text styles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11947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US"/>
              <a:t>Click to edit Master text styles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3"/>
            <a:endParaRPr lang="en-US"/>
          </a:p>
          <a:p>
            <a:pPr lvl="2"/>
            <a:endParaRPr lang="en-US"/>
          </a:p>
          <a:p>
            <a:pPr lvl="2"/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BFEAEAE3-39AF-CF80-3380-D0BD631A87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64239" y="601979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53AC7BF3-02B9-EE48-A24D-01E986EF0CE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3141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1" r:id="rId3"/>
    <p:sldLayoutId id="2147483666" r:id="rId4"/>
    <p:sldLayoutId id="2147483662" r:id="rId5"/>
    <p:sldLayoutId id="2147483656" r:id="rId6"/>
    <p:sldLayoutId id="2147483674" r:id="rId7"/>
    <p:sldLayoutId id="2147483676" r:id="rId8"/>
    <p:sldLayoutId id="2147483655" r:id="rId9"/>
    <p:sldLayoutId id="2147483679" r:id="rId10"/>
    <p:sldLayoutId id="2147483659" r:id="rId11"/>
    <p:sldLayoutId id="2147483653" r:id="rId12"/>
    <p:sldLayoutId id="2147483654" r:id="rId13"/>
    <p:sldLayoutId id="2147483658" r:id="rId14"/>
    <p:sldLayoutId id="2147483651" r:id="rId15"/>
    <p:sldLayoutId id="2147483652" r:id="rId16"/>
    <p:sldLayoutId id="2147483660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rgbClr val="8ED9F8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Clr>
          <a:srgbClr val="011947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Tahoma" panose="020B0604030504040204" pitchFamily="34" charset="0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11947"/>
        </a:buClr>
        <a:buFont typeface="Tahoma" panose="020B0604030504040204" pitchFamily="34" charset="0"/>
        <a:buChar char="‒"/>
        <a:defRPr sz="1800" kern="1200">
          <a:solidFill>
            <a:schemeClr val="tx1"/>
          </a:solidFill>
          <a:latin typeface="Arial" panose="020B0604020202020204" pitchFamily="34" charset="0"/>
          <a:ea typeface="Tahoma" panose="020B0604030504040204" pitchFamily="34" charset="0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11947"/>
        </a:buClr>
        <a:buFont typeface="Courier New" panose="02070309020205020404" pitchFamily="49" charset="0"/>
        <a:buChar char="o"/>
        <a:defRPr sz="1800" kern="1200">
          <a:solidFill>
            <a:schemeClr val="tx1"/>
          </a:solidFill>
          <a:latin typeface="Arial" panose="020B0604020202020204" pitchFamily="34" charset="0"/>
          <a:ea typeface="Tahoma" panose="020B0604030504040204" pitchFamily="34" charset="0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Tahoma" panose="020B0604030504040204" pitchFamily="34" charset="0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10" Type="http://schemas.openxmlformats.org/officeDocument/2006/relationships/image" Target="../media/image16.png"/><Relationship Id="rId4" Type="http://schemas.openxmlformats.org/officeDocument/2006/relationships/image" Target="../media/image11.emf"/><Relationship Id="rId9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13" Type="http://schemas.openxmlformats.org/officeDocument/2006/relationships/image" Target="../media/image23.png"/><Relationship Id="rId3" Type="http://schemas.openxmlformats.org/officeDocument/2006/relationships/oleObject" Target="../embeddings/oleObject5.bin"/><Relationship Id="rId7" Type="http://schemas.openxmlformats.org/officeDocument/2006/relationships/diagramQuickStyle" Target="../diagrams/quickStyle1.xml"/><Relationship Id="rId12" Type="http://schemas.openxmlformats.org/officeDocument/2006/relationships/image" Target="../media/image22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6" Type="http://schemas.openxmlformats.org/officeDocument/2006/relationships/diagramLayout" Target="../diagrams/layout1.xml"/><Relationship Id="rId11" Type="http://schemas.openxmlformats.org/officeDocument/2006/relationships/image" Target="../media/image21.png"/><Relationship Id="rId5" Type="http://schemas.openxmlformats.org/officeDocument/2006/relationships/diagramData" Target="../diagrams/data1.xml"/><Relationship Id="rId10" Type="http://schemas.openxmlformats.org/officeDocument/2006/relationships/image" Target="../media/image20.jpeg"/><Relationship Id="rId4" Type="http://schemas.openxmlformats.org/officeDocument/2006/relationships/image" Target="../media/image11.emf"/><Relationship Id="rId9" Type="http://schemas.microsoft.com/office/2007/relationships/diagramDrawing" Target="../diagrams/drawing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1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5" Type="http://schemas.openxmlformats.org/officeDocument/2006/relationships/image" Target="../media/image30.png"/><Relationship Id="rId4" Type="http://schemas.openxmlformats.org/officeDocument/2006/relationships/image" Target="../media/image1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9.x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n aerial view of a beach and a water park&#10;&#10;Description automatically generated">
            <a:extLst>
              <a:ext uri="{FF2B5EF4-FFF2-40B4-BE49-F238E27FC236}">
                <a16:creationId xmlns:a16="http://schemas.microsoft.com/office/drawing/2014/main" id="{7D91FD38-2602-3A5F-47AD-FF0988B6AD0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02"/>
          <a:stretch/>
        </p:blipFill>
        <p:spPr>
          <a:xfrm>
            <a:off x="-1" y="-13893"/>
            <a:ext cx="12192000" cy="6871893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F9C544E-A831-55A7-3B56-42B547A4DF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403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F9C544E-A831-55A7-3B56-42B547A4D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E9BE1AC9-6368-B024-F0C0-855EC9AAA9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262911"/>
            <a:ext cx="12192000" cy="748144"/>
          </a:xfrm>
        </p:spPr>
        <p:txBody>
          <a:bodyPr vert="horz">
            <a:noAutofit/>
          </a:bodyPr>
          <a:lstStyle/>
          <a:p>
            <a:r>
              <a:rPr lang="en-US" sz="4000"/>
              <a:t>Celebration Key – Job Opportunities</a:t>
            </a:r>
            <a:endParaRPr lang="en-US" sz="4000" b="0" i="1"/>
          </a:p>
        </p:txBody>
      </p:sp>
    </p:spTree>
    <p:extLst>
      <p:ext uri="{BB962C8B-B14F-4D97-AF65-F5344CB8AC3E}">
        <p14:creationId xmlns:p14="http://schemas.microsoft.com/office/powerpoint/2010/main" val="19566788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F9A4192-52E0-5B99-7EB2-9E3E8E6A13B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4705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9A4192-52E0-5B99-7EB2-9E3E8E6A13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7475EFB-6853-311A-C51D-7FCE6174EE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fld id="{53AC7BF3-02B9-EE48-A24D-01E986EF0CE6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968238-B0E7-859A-7994-71E58226CF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44" y="299497"/>
            <a:ext cx="10985320" cy="59270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>
                <a:solidFill>
                  <a:schemeClr val="tx2">
                    <a:lumMod val="50000"/>
                  </a:schemeClr>
                </a:solidFill>
              </a:rPr>
              <a:t>300+ Direct Job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67BBB9D-5B41-0AA8-D9E2-3002A603F569}"/>
              </a:ext>
            </a:extLst>
          </p:cNvPr>
          <p:cNvSpPr txBox="1"/>
          <p:nvPr/>
        </p:nvSpPr>
        <p:spPr>
          <a:xfrm>
            <a:off x="3916217" y="5965794"/>
            <a:ext cx="4359566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3600" b="1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d many more…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6E59144A-F54A-427F-6CE2-1157FFF8A04F}"/>
              </a:ext>
            </a:extLst>
          </p:cNvPr>
          <p:cNvSpPr/>
          <p:nvPr/>
        </p:nvSpPr>
        <p:spPr>
          <a:xfrm>
            <a:off x="3625827" y="4862725"/>
            <a:ext cx="2370606" cy="1016092"/>
          </a:xfrm>
          <a:prstGeom prst="roundRect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T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D8EBC11F-37D9-4E14-BE94-E0C737183E02}"/>
              </a:ext>
            </a:extLst>
          </p:cNvPr>
          <p:cNvSpPr/>
          <p:nvPr/>
        </p:nvSpPr>
        <p:spPr>
          <a:xfrm>
            <a:off x="1056085" y="4862725"/>
            <a:ext cx="2370606" cy="1016092"/>
          </a:xfrm>
          <a:prstGeom prst="roundRect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ndscaping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9FA7B521-1E81-FA44-429F-B50FB016465B}"/>
              </a:ext>
            </a:extLst>
          </p:cNvPr>
          <p:cNvSpPr/>
          <p:nvPr/>
        </p:nvSpPr>
        <p:spPr>
          <a:xfrm>
            <a:off x="1056085" y="3660754"/>
            <a:ext cx="2370606" cy="1016092"/>
          </a:xfrm>
          <a:prstGeom prst="roundRect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inance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9A03AD5E-F483-A768-49D2-A5ED4BADE508}"/>
              </a:ext>
            </a:extLst>
          </p:cNvPr>
          <p:cNvSpPr/>
          <p:nvPr/>
        </p:nvSpPr>
        <p:spPr>
          <a:xfrm>
            <a:off x="3625827" y="3660754"/>
            <a:ext cx="2370606" cy="1016092"/>
          </a:xfrm>
          <a:prstGeom prst="roundRect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nagement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60FE862F-975A-2EA0-B555-74206A1A09B8}"/>
              </a:ext>
            </a:extLst>
          </p:cNvPr>
          <p:cNvSpPr/>
          <p:nvPr/>
        </p:nvSpPr>
        <p:spPr>
          <a:xfrm>
            <a:off x="6195569" y="3660754"/>
            <a:ext cx="2370606" cy="1016092"/>
          </a:xfrm>
          <a:prstGeom prst="roundRect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uman Resources</a:t>
            </a: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01845CA0-725C-4612-8E2D-20D59EC73128}"/>
              </a:ext>
            </a:extLst>
          </p:cNvPr>
          <p:cNvSpPr/>
          <p:nvPr/>
        </p:nvSpPr>
        <p:spPr>
          <a:xfrm>
            <a:off x="8765310" y="3660754"/>
            <a:ext cx="2370606" cy="1016092"/>
          </a:xfrm>
          <a:prstGeom prst="roundRect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intenance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8177BEA6-3FD1-245B-203F-C1BE23B4B32C}"/>
              </a:ext>
            </a:extLst>
          </p:cNvPr>
          <p:cNvSpPr/>
          <p:nvPr/>
        </p:nvSpPr>
        <p:spPr>
          <a:xfrm>
            <a:off x="8765310" y="4862725"/>
            <a:ext cx="2370606" cy="1016092"/>
          </a:xfrm>
          <a:prstGeom prst="roundRect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uest Services</a:t>
            </a: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EB1B5587-4B91-2E33-A1C8-788B2E704907}"/>
              </a:ext>
            </a:extLst>
          </p:cNvPr>
          <p:cNvSpPr/>
          <p:nvPr/>
        </p:nvSpPr>
        <p:spPr>
          <a:xfrm>
            <a:off x="6195569" y="4862725"/>
            <a:ext cx="2370606" cy="1016092"/>
          </a:xfrm>
          <a:prstGeom prst="roundRect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curity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10D4985-787E-0E90-B374-0865FA54C008}"/>
              </a:ext>
            </a:extLst>
          </p:cNvPr>
          <p:cNvGrpSpPr/>
          <p:nvPr/>
        </p:nvGrpSpPr>
        <p:grpSpPr>
          <a:xfrm>
            <a:off x="3664310" y="892206"/>
            <a:ext cx="4326584" cy="2603077"/>
            <a:chOff x="3367306" y="934450"/>
            <a:chExt cx="5309873" cy="3194220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3E0E8F61-512A-7027-3DCF-561569867DF3}"/>
                </a:ext>
              </a:extLst>
            </p:cNvPr>
            <p:cNvGrpSpPr/>
            <p:nvPr/>
          </p:nvGrpSpPr>
          <p:grpSpPr>
            <a:xfrm>
              <a:off x="3367306" y="934450"/>
              <a:ext cx="5309873" cy="3124475"/>
              <a:chOff x="3367306" y="934450"/>
              <a:chExt cx="5309873" cy="3124475"/>
            </a:xfrm>
          </p:grpSpPr>
          <p:pic>
            <p:nvPicPr>
              <p:cNvPr id="6" name="Picture 5">
                <a:extLst>
                  <a:ext uri="{FF2B5EF4-FFF2-40B4-BE49-F238E27FC236}">
                    <a16:creationId xmlns:a16="http://schemas.microsoft.com/office/drawing/2014/main" id="{DE971A2C-DD36-73ED-9550-BBE3095099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607458" y="934450"/>
                <a:ext cx="1138993" cy="3124475"/>
              </a:xfrm>
              <a:prstGeom prst="rect">
                <a:avLst/>
              </a:prstGeom>
            </p:spPr>
          </p:pic>
          <p:pic>
            <p:nvPicPr>
              <p:cNvPr id="54" name="Picture 53">
                <a:extLst>
                  <a:ext uri="{FF2B5EF4-FFF2-40B4-BE49-F238E27FC236}">
                    <a16:creationId xmlns:a16="http://schemas.microsoft.com/office/drawing/2014/main" id="{7E5C8489-B21C-045B-AFB0-2354950D57D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t="5926" b="4680"/>
              <a:stretch/>
            </p:blipFill>
            <p:spPr>
              <a:xfrm>
                <a:off x="4298647" y="1070117"/>
                <a:ext cx="2376923" cy="2907989"/>
              </a:xfrm>
              <a:prstGeom prst="rect">
                <a:avLst/>
              </a:prstGeom>
            </p:spPr>
          </p:pic>
          <p:pic>
            <p:nvPicPr>
              <p:cNvPr id="58" name="Picture 57">
                <a:extLst>
                  <a:ext uri="{FF2B5EF4-FFF2-40B4-BE49-F238E27FC236}">
                    <a16:creationId xmlns:a16="http://schemas.microsoft.com/office/drawing/2014/main" id="{6056D8B6-D216-069E-6F86-1C7FF151A56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3367306" y="1066634"/>
                <a:ext cx="913283" cy="2938493"/>
              </a:xfrm>
              <a:prstGeom prst="rect">
                <a:avLst/>
              </a:prstGeom>
            </p:spPr>
          </p:pic>
          <p:pic>
            <p:nvPicPr>
              <p:cNvPr id="60" name="Picture 59">
                <a:extLst>
                  <a:ext uri="{FF2B5EF4-FFF2-40B4-BE49-F238E27FC236}">
                    <a16:creationId xmlns:a16="http://schemas.microsoft.com/office/drawing/2014/main" id="{7334D1F7-F78D-5610-4333-318730E35E9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>
                <a:extLst>
                  <a:ext uri="{BEBA8EAE-BF5A-486C-A8C5-ECC9F3942E4B}">
                    <a14:imgProps xmlns:a14="http://schemas.microsoft.com/office/drawing/2010/main">
                      <a14:imgLayer r:embed="rId9">
                        <a14:imgEffect>
                          <a14:backgroundRemoval t="492" b="97785" l="7277" r="95010">
                            <a14:foregroundMark x1="38046" y1="91715" x2="38046" y2="91715"/>
                            <a14:foregroundMark x1="79418" y1="94176" x2="79418" y2="94176"/>
                            <a14:foregroundMark x1="36590" y1="94914" x2="36590" y2="94914"/>
                            <a14:foregroundMark x1="55301" y1="95734" x2="55301" y2="95734"/>
                            <a14:foregroundMark x1="64449" y1="96390" x2="64449" y2="96390"/>
                            <a14:foregroundMark x1="72141" y1="96883" x2="71102" y2="96965"/>
                            <a14:foregroundMark x1="56549" y1="96883" x2="50104" y2="96637"/>
                            <a14:foregroundMark x1="49272" y1="96637" x2="49272" y2="96637"/>
                            <a14:foregroundMark x1="48649" y1="96637" x2="48649" y2="96637"/>
                            <a14:foregroundMark x1="58836" y1="96308" x2="62994" y2="96637"/>
                            <a14:foregroundMark x1="56965" y1="96637" x2="33680" y2="96144"/>
                            <a14:foregroundMark x1="33680" y1="96144" x2="77131" y2="97375"/>
                            <a14:foregroundMark x1="77131" y1="97375" x2="64241" y2="95078"/>
                            <a14:foregroundMark x1="50728" y1="94422" x2="68399" y2="95078"/>
                            <a14:foregroundMark x1="68399" y1="95078" x2="65489" y2="95160"/>
                            <a14:foregroundMark x1="62786" y1="93929" x2="51351" y2="92863"/>
                            <a14:foregroundMark x1="93971" y1="95652" x2="93971" y2="95652"/>
                            <a14:foregroundMark x1="19751" y1="25021" x2="19751" y2="25021"/>
                            <a14:foregroundMark x1="42412" y1="23134" x2="42412" y2="23134"/>
                            <a14:foregroundMark x1="39917" y1="23298" x2="39917" y2="23298"/>
                            <a14:foregroundMark x1="39917" y1="23298" x2="39917" y2="23298"/>
                            <a14:foregroundMark x1="35343" y1="23790" x2="35343" y2="23790"/>
                            <a14:foregroundMark x1="35343" y1="23790" x2="35343" y2="23790"/>
                            <a14:foregroundMark x1="33472" y1="24364" x2="33472" y2="24364"/>
                            <a14:foregroundMark x1="39709" y1="25021" x2="39709" y2="25021"/>
                            <a14:foregroundMark x1="40541" y1="25021" x2="41788" y2="25021"/>
                            <a14:foregroundMark x1="48025" y1="24774" x2="48025" y2="24774"/>
                            <a14:foregroundMark x1="49064" y1="24610" x2="49064" y2="24610"/>
                            <a14:foregroundMark x1="18295" y1="26579" x2="18295" y2="26579"/>
                            <a14:foregroundMark x1="18295" y1="26579" x2="18295" y2="26579"/>
                            <a14:foregroundMark x1="18295" y1="26579" x2="18295" y2="26579"/>
                            <a14:foregroundMark x1="19127" y1="27071" x2="19127" y2="27071"/>
                            <a14:foregroundMark x1="20790" y1="27317" x2="20790" y2="27317"/>
                            <a14:foregroundMark x1="20998" y1="28220" x2="20998" y2="28220"/>
                            <a14:foregroundMark x1="20998" y1="29122" x2="20998" y2="29122"/>
                            <a14:foregroundMark x1="14969" y1="26005" x2="14969" y2="26005"/>
                            <a14:foregroundMark x1="18711" y1="23462" x2="18711" y2="23462"/>
                            <a14:foregroundMark x1="14761" y1="23052" x2="14761" y2="23052"/>
                            <a14:foregroundMark x1="11435" y1="25103" x2="11435" y2="25103"/>
                            <a14:foregroundMark x1="10811" y1="27728" x2="10811" y2="28056"/>
                            <a14:foregroundMark x1="10395" y1="29204" x2="10395" y2="29204"/>
                            <a14:foregroundMark x1="20166" y1="22313" x2="20166" y2="22313"/>
                            <a14:foregroundMark x1="17464" y1="22067" x2="17464" y2="22067"/>
                            <a14:foregroundMark x1="15385" y1="22313" x2="15385" y2="22313"/>
                            <a14:foregroundMark x1="14345" y1="22724" x2="13929" y2="22806"/>
                            <a14:foregroundMark x1="13514" y1="23052" x2="12890" y2="23298"/>
                            <a14:foregroundMark x1="12682" y1="23380" x2="12058" y2="23708"/>
                            <a14:foregroundMark x1="12058" y1="23790" x2="11642" y2="24118"/>
                            <a14:foregroundMark x1="11642" y1="24118" x2="11227" y2="24528"/>
                            <a14:foregroundMark x1="11019" y1="24774" x2="9771" y2="25841"/>
                            <a14:foregroundMark x1="9771" y1="25841" x2="9563" y2="40115"/>
                            <a14:foregroundMark x1="33264" y1="18786" x2="15593" y2="21821"/>
                            <a14:foregroundMark x1="15593" y1="21821" x2="7484" y2="28548"/>
                            <a14:foregroundMark x1="7484" y1="28548" x2="7692" y2="36751"/>
                            <a14:foregroundMark x1="7692" y1="36751" x2="10603" y2="40935"/>
                            <a14:foregroundMark x1="75052" y1="40771" x2="77131" y2="31993"/>
                            <a14:foregroundMark x1="77131" y1="31993" x2="58212" y2="20098"/>
                            <a14:foregroundMark x1="59459" y1="20345" x2="74012" y2="25103"/>
                            <a14:foregroundMark x1="74012" y1="25103" x2="80249" y2="32240"/>
                            <a14:foregroundMark x1="80249" y1="32240" x2="80457" y2="36341"/>
                            <a14:foregroundMark x1="79834" y1="34208" x2="70270" y2="40607"/>
                            <a14:foregroundMark x1="70270" y1="40607" x2="62578" y2="42002"/>
                            <a14:foregroundMark x1="83992" y1="38146" x2="69647" y2="41674"/>
                            <a14:foregroundMark x1="41164" y1="14848" x2="41164" y2="14848"/>
                            <a14:foregroundMark x1="43451" y1="11403" x2="43451" y2="11403"/>
                            <a14:foregroundMark x1="40541" y1="6727" x2="40541" y2="6727"/>
                            <a14:foregroundMark x1="42412" y1="3938" x2="42412" y2="3938"/>
                            <a14:foregroundMark x1="29106" y1="18540" x2="18295" y2="4430"/>
                            <a14:foregroundMark x1="18295" y1="4430" x2="35135" y2="164"/>
                            <a14:foregroundMark x1="35135" y1="164" x2="55509" y2="738"/>
                            <a14:foregroundMark x1="55509" y1="738" x2="68815" y2="12469"/>
                            <a14:foregroundMark x1="68815" y1="12469" x2="61954" y2="22559"/>
                            <a14:foregroundMark x1="53638" y1="16735" x2="24948" y2="14848"/>
                            <a14:foregroundMark x1="24948" y1="14848" x2="22661" y2="5414"/>
                            <a14:foregroundMark x1="22661" y1="5414" x2="41788" y2="3856"/>
                            <a14:foregroundMark x1="41788" y1="3856" x2="52183" y2="10829"/>
                            <a14:foregroundMark x1="52183" y1="10829" x2="52599" y2="17391"/>
                            <a14:foregroundMark x1="32017" y1="97539" x2="32017" y2="97539"/>
                            <a14:foregroundMark x1="36798" y1="97539" x2="27027" y2="97539"/>
                            <a14:foregroundMark x1="73181" y1="96801" x2="95218" y2="96637"/>
                            <a14:foregroundMark x1="30977" y1="91550" x2="25572" y2="97785"/>
                            <a14:foregroundMark x1="24324" y1="95406" x2="24324" y2="95816"/>
                            <a14:foregroundMark x1="25572" y1="96965" x2="25572" y2="96965"/>
                            <a14:foregroundMark x1="26195" y1="96062" x2="26195" y2="96062"/>
                            <a14:backgroundMark x1="91684" y1="17555" x2="91684" y2="17555"/>
                            <a14:backgroundMark x1="91684" y1="15176" x2="91684" y2="15176"/>
                            <a14:backgroundMark x1="92723" y1="12879" x2="92723" y2="12879"/>
                          </a14:backgroundRemoval>
                        </a14:imgEffect>
                      </a14:imgLayer>
                    </a14:imgProps>
                  </a:ext>
                </a:extLst>
              </a:blip>
              <a:srcRect r="4163"/>
              <a:stretch/>
            </p:blipFill>
            <p:spPr>
              <a:xfrm>
                <a:off x="7555542" y="1052849"/>
                <a:ext cx="1121637" cy="2966060"/>
              </a:xfrm>
              <a:prstGeom prst="rect">
                <a:avLst/>
              </a:prstGeom>
            </p:spPr>
          </p:pic>
        </p:grp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FB98B0B4-7FE9-A1AF-296E-C22582DD7A0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r="11371"/>
            <a:stretch/>
          </p:blipFill>
          <p:spPr>
            <a:xfrm>
              <a:off x="5100103" y="988255"/>
              <a:ext cx="878712" cy="314041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817654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F9A4192-52E0-5B99-7EB2-9E3E8E6A13B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5877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9A4192-52E0-5B99-7EB2-9E3E8E6A13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3CCE5B84-83DD-9AA2-3B0A-B7536EA8E06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1308"/>
          <a:stretch/>
        </p:blipFill>
        <p:spPr>
          <a:xfrm>
            <a:off x="7406922" y="2211033"/>
            <a:ext cx="1849929" cy="307216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7475EFB-6853-311A-C51D-7FCE6174EE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fld id="{53AC7BF3-02B9-EE48-A24D-01E986EF0CE6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968238-B0E7-859A-7994-71E58226CF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44" y="402135"/>
            <a:ext cx="10985320" cy="59270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>
                <a:solidFill>
                  <a:srgbClr val="011947"/>
                </a:solidFill>
              </a:rPr>
              <a:t>What are we looking for?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DACB619-E8B8-9477-9C7C-CFFF1349511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2911"/>
          <a:stretch/>
        </p:blipFill>
        <p:spPr>
          <a:xfrm>
            <a:off x="1525762" y="2115127"/>
            <a:ext cx="1759366" cy="3271038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D1F316DA-5574-B6F0-934B-976DB235485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67558" y="2155696"/>
            <a:ext cx="872012" cy="3115992"/>
          </a:xfrm>
          <a:prstGeom prst="rect">
            <a:avLst/>
          </a:prstGeom>
        </p:spPr>
      </p:pic>
      <p:sp>
        <p:nvSpPr>
          <p:cNvPr id="25" name="Thought Bubble: Cloud 24">
            <a:extLst>
              <a:ext uri="{FF2B5EF4-FFF2-40B4-BE49-F238E27FC236}">
                <a16:creationId xmlns:a16="http://schemas.microsoft.com/office/drawing/2014/main" id="{00E0C18C-462C-498F-7887-09799EB521BA}"/>
              </a:ext>
            </a:extLst>
          </p:cNvPr>
          <p:cNvSpPr/>
          <p:nvPr/>
        </p:nvSpPr>
        <p:spPr>
          <a:xfrm>
            <a:off x="5593534" y="1109321"/>
            <a:ext cx="2255936" cy="1159836"/>
          </a:xfrm>
          <a:prstGeom prst="cloudCallout">
            <a:avLst>
              <a:gd name="adj1" fmla="val -31039"/>
              <a:gd name="adj2" fmla="val 59567"/>
            </a:avLst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sitive thinking</a:t>
            </a:r>
          </a:p>
        </p:txBody>
      </p:sp>
      <p:sp>
        <p:nvSpPr>
          <p:cNvPr id="26" name="Thought Bubble: Cloud 25">
            <a:extLst>
              <a:ext uri="{FF2B5EF4-FFF2-40B4-BE49-F238E27FC236}">
                <a16:creationId xmlns:a16="http://schemas.microsoft.com/office/drawing/2014/main" id="{8185124F-8589-8B00-7E39-7C6CF85A2D0D}"/>
              </a:ext>
            </a:extLst>
          </p:cNvPr>
          <p:cNvSpPr/>
          <p:nvPr/>
        </p:nvSpPr>
        <p:spPr>
          <a:xfrm>
            <a:off x="8512470" y="1093037"/>
            <a:ext cx="2165968" cy="1159836"/>
          </a:xfrm>
          <a:prstGeom prst="cloudCallout">
            <a:avLst>
              <a:gd name="adj1" fmla="val -30414"/>
              <a:gd name="adj2" fmla="val 62283"/>
            </a:avLst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ork ethic</a:t>
            </a:r>
          </a:p>
        </p:txBody>
      </p:sp>
      <p:sp>
        <p:nvSpPr>
          <p:cNvPr id="27" name="Thought Bubble: Cloud 26">
            <a:extLst>
              <a:ext uri="{FF2B5EF4-FFF2-40B4-BE49-F238E27FC236}">
                <a16:creationId xmlns:a16="http://schemas.microsoft.com/office/drawing/2014/main" id="{55DEA550-FA79-0E7A-C268-76662DEF23D0}"/>
              </a:ext>
            </a:extLst>
          </p:cNvPr>
          <p:cNvSpPr/>
          <p:nvPr/>
        </p:nvSpPr>
        <p:spPr>
          <a:xfrm>
            <a:off x="2652809" y="1084600"/>
            <a:ext cx="2165968" cy="1159836"/>
          </a:xfrm>
          <a:prstGeom prst="cloudCallout">
            <a:avLst>
              <a:gd name="adj1" fmla="val -37871"/>
              <a:gd name="adj2" fmla="val 56816"/>
            </a:avLst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uest focused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61181026-5CBD-22DA-D1A4-1943C8722147}"/>
              </a:ext>
            </a:extLst>
          </p:cNvPr>
          <p:cNvSpPr/>
          <p:nvPr/>
        </p:nvSpPr>
        <p:spPr>
          <a:xfrm>
            <a:off x="1243256" y="5386165"/>
            <a:ext cx="2819106" cy="874680"/>
          </a:xfrm>
          <a:prstGeom prst="roundRect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/>
              <a:t>Communicative &amp; Flexible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9DF3B37B-D598-EEFA-3F62-502130664608}"/>
              </a:ext>
            </a:extLst>
          </p:cNvPr>
          <p:cNvSpPr/>
          <p:nvPr/>
        </p:nvSpPr>
        <p:spPr>
          <a:xfrm>
            <a:off x="4267259" y="5386165"/>
            <a:ext cx="2819106" cy="874680"/>
          </a:xfrm>
          <a:prstGeom prst="roundRect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/>
              <a:t>Resilient &amp; Virtuous 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297F6F68-E18A-8786-7A01-BF3AF89195BA}"/>
              </a:ext>
            </a:extLst>
          </p:cNvPr>
          <p:cNvSpPr/>
          <p:nvPr/>
        </p:nvSpPr>
        <p:spPr>
          <a:xfrm>
            <a:off x="7291262" y="5386165"/>
            <a:ext cx="2819106" cy="874680"/>
          </a:xfrm>
          <a:prstGeom prst="roundRect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/>
              <a:t>Responsible &amp; Accountable</a:t>
            </a:r>
          </a:p>
        </p:txBody>
      </p:sp>
    </p:spTree>
    <p:extLst>
      <p:ext uri="{BB962C8B-B14F-4D97-AF65-F5344CB8AC3E}">
        <p14:creationId xmlns:p14="http://schemas.microsoft.com/office/powerpoint/2010/main" val="14332705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F9A4192-52E0-5B99-7EB2-9E3E8E6A13B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2392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9A4192-52E0-5B99-7EB2-9E3E8E6A13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4908AE28-75EB-01F8-8550-33C19C330F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63711106"/>
              </p:ext>
            </p:extLst>
          </p:nvPr>
        </p:nvGraphicFramePr>
        <p:xfrm>
          <a:off x="463393" y="393490"/>
          <a:ext cx="11265214" cy="54060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3082" name="Picture 10" descr="Icon&#10;&#10;Description automatically generated">
            <a:extLst>
              <a:ext uri="{FF2B5EF4-FFF2-40B4-BE49-F238E27FC236}">
                <a16:creationId xmlns:a16="http://schemas.microsoft.com/office/drawing/2014/main" id="{9AD4C086-14EE-80CC-F9BE-A9297098FD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3442" y="754664"/>
            <a:ext cx="790567" cy="7905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7475EFB-6853-311A-C51D-7FCE6174EE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fld id="{53AC7BF3-02B9-EE48-A24D-01E986EF0CE6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968238-B0E7-859A-7994-71E58226CF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6533" y="353776"/>
            <a:ext cx="10985320" cy="59270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>
                <a:solidFill>
                  <a:srgbClr val="011947"/>
                </a:solidFill>
              </a:rPr>
              <a:t>Timelin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BB45AF1-4837-09D8-750F-FCBD574C2E78}"/>
              </a:ext>
            </a:extLst>
          </p:cNvPr>
          <p:cNvSpPr txBox="1"/>
          <p:nvPr/>
        </p:nvSpPr>
        <p:spPr>
          <a:xfrm>
            <a:off x="9172267" y="1242943"/>
            <a:ext cx="274320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cruitment for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upervis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ine staff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97C42D0-7B1B-8C1E-C3B6-75FF0D5214BA}"/>
              </a:ext>
            </a:extLst>
          </p:cNvPr>
          <p:cNvSpPr txBox="1"/>
          <p:nvPr/>
        </p:nvSpPr>
        <p:spPr>
          <a:xfrm>
            <a:off x="1136254" y="4310045"/>
            <a:ext cx="2946219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cruitment for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eneral Manag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ite Engine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R Manag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inancial Controll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rector, Government and Community Engagement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DC4F224-0E0F-AFAA-3E8E-70B5ED0E05DA}"/>
              </a:ext>
            </a:extLst>
          </p:cNvPr>
          <p:cNvCxnSpPr>
            <a:cxnSpLocks/>
          </p:cNvCxnSpPr>
          <p:nvPr/>
        </p:nvCxnSpPr>
        <p:spPr>
          <a:xfrm>
            <a:off x="1747528" y="3643793"/>
            <a:ext cx="174513" cy="216707"/>
          </a:xfrm>
          <a:prstGeom prst="line">
            <a:avLst/>
          </a:prstGeom>
          <a:ln w="19050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C6A7D07F-7D40-0108-719D-55871229A978}"/>
              </a:ext>
            </a:extLst>
          </p:cNvPr>
          <p:cNvCxnSpPr>
            <a:cxnSpLocks/>
          </p:cNvCxnSpPr>
          <p:nvPr/>
        </p:nvCxnSpPr>
        <p:spPr>
          <a:xfrm flipH="1">
            <a:off x="6530109" y="2261883"/>
            <a:ext cx="267855" cy="289120"/>
          </a:xfrm>
          <a:prstGeom prst="line">
            <a:avLst/>
          </a:prstGeom>
          <a:ln w="19050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C7335738-C45F-081C-ACC2-7AFE650AD411}"/>
              </a:ext>
            </a:extLst>
          </p:cNvPr>
          <p:cNvSpPr txBox="1"/>
          <p:nvPr/>
        </p:nvSpPr>
        <p:spPr>
          <a:xfrm>
            <a:off x="6090480" y="1376789"/>
            <a:ext cx="161029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Job Fairs Begi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9330FC6-E8C7-1115-4605-59CDCBC683E8}"/>
              </a:ext>
            </a:extLst>
          </p:cNvPr>
          <p:cNvSpPr txBox="1"/>
          <p:nvPr/>
        </p:nvSpPr>
        <p:spPr>
          <a:xfrm>
            <a:off x="7301409" y="4207192"/>
            <a:ext cx="388997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60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en-US" sz="2400" b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cruitment for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ifeguard Manag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ater Safety Manag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ousekeeping Manag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uest Experience Manag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d many more!!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2CFD5815-14B9-FF80-390F-6678DEB3F4E7}"/>
              </a:ext>
            </a:extLst>
          </p:cNvPr>
          <p:cNvCxnSpPr>
            <a:cxnSpLocks/>
          </p:cNvCxnSpPr>
          <p:nvPr/>
        </p:nvCxnSpPr>
        <p:spPr>
          <a:xfrm flipH="1">
            <a:off x="8740738" y="3643793"/>
            <a:ext cx="227771" cy="428625"/>
          </a:xfrm>
          <a:prstGeom prst="line">
            <a:avLst/>
          </a:prstGeom>
          <a:ln w="19050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pic>
        <p:nvPicPr>
          <p:cNvPr id="3078" name="Picture 6">
            <a:extLst>
              <a:ext uri="{FF2B5EF4-FFF2-40B4-BE49-F238E27FC236}">
                <a16:creationId xmlns:a16="http://schemas.microsoft.com/office/drawing/2014/main" id="{25A16F6E-446C-57A4-BB59-0FD6803922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8901" y="3853343"/>
            <a:ext cx="533400" cy="438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4" name="Picture 12">
            <a:extLst>
              <a:ext uri="{FF2B5EF4-FFF2-40B4-BE49-F238E27FC236}">
                <a16:creationId xmlns:a16="http://schemas.microsoft.com/office/drawing/2014/main" id="{E34ADE88-2D97-11A7-AC69-55D406D2DE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8867" y="3971477"/>
            <a:ext cx="561975" cy="428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2F0EC13D-70AA-FF41-CA8F-A742596DE757}"/>
              </a:ext>
            </a:extLst>
          </p:cNvPr>
          <p:cNvCxnSpPr>
            <a:cxnSpLocks/>
          </p:cNvCxnSpPr>
          <p:nvPr/>
        </p:nvCxnSpPr>
        <p:spPr>
          <a:xfrm>
            <a:off x="10284941" y="2261883"/>
            <a:ext cx="306523" cy="289120"/>
          </a:xfrm>
          <a:prstGeom prst="line">
            <a:avLst/>
          </a:prstGeom>
          <a:ln w="19050"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pic>
        <p:nvPicPr>
          <p:cNvPr id="4098" name="Picture 2" descr="Recruitment icons for free download | Freepik">
            <a:extLst>
              <a:ext uri="{FF2B5EF4-FFF2-40B4-BE49-F238E27FC236}">
                <a16:creationId xmlns:a16="http://schemas.microsoft.com/office/drawing/2014/main" id="{F11B9380-BD75-0C27-B578-F7F12FA366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9739" y="726474"/>
            <a:ext cx="536929" cy="5369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54739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F9A4192-52E0-5B99-7EB2-9E3E8E6A13B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6447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9A4192-52E0-5B99-7EB2-9E3E8E6A13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1EE79E88-5E4C-D976-AFA7-3385E462352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1659"/>
          <a:stretch/>
        </p:blipFill>
        <p:spPr>
          <a:xfrm>
            <a:off x="869496" y="3471271"/>
            <a:ext cx="3081414" cy="337833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7475EFB-6853-311A-C51D-7FCE6174EE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fld id="{53AC7BF3-02B9-EE48-A24D-01E986EF0CE6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968238-B0E7-859A-7994-71E58226CF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55" y="457716"/>
            <a:ext cx="10985320" cy="59270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>
                <a:solidFill>
                  <a:srgbClr val="011947"/>
                </a:solidFill>
              </a:rPr>
              <a:t>How to apply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2AD6C3AC-0F0A-2281-330E-6CF6FDAEDDE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15914"/>
          <a:stretch/>
        </p:blipFill>
        <p:spPr>
          <a:xfrm>
            <a:off x="4440427" y="3547531"/>
            <a:ext cx="3311146" cy="3310469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66914B49-ABE4-E20B-EC53-8F30264AD67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630370" y="3475567"/>
            <a:ext cx="2970360" cy="3382433"/>
          </a:xfrm>
          <a:prstGeom prst="rect">
            <a:avLst/>
          </a:prstGeom>
        </p:spPr>
      </p:pic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9D81F383-292D-1609-56F3-2F87327D3EEF}"/>
              </a:ext>
            </a:extLst>
          </p:cNvPr>
          <p:cNvSpPr/>
          <p:nvPr/>
        </p:nvSpPr>
        <p:spPr>
          <a:xfrm>
            <a:off x="2203450" y="1634909"/>
            <a:ext cx="7785100" cy="1621367"/>
          </a:xfrm>
          <a:prstGeom prst="roundRect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u="sng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alpcl.bamboohr.com/career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EEA11B28-B8FC-6017-AB86-85B4C59D73F9}"/>
              </a:ext>
            </a:extLst>
          </p:cNvPr>
          <p:cNvSpPr txBox="1"/>
          <p:nvPr/>
        </p:nvSpPr>
        <p:spPr>
          <a:xfrm>
            <a:off x="1880619" y="5627253"/>
            <a:ext cx="15155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>
                <a:latin typeface="Cavolini" panose="03000502040302020204" pitchFamily="66" charset="0"/>
                <a:cs typeface="Cavolini" panose="03000502040302020204" pitchFamily="66" charset="0"/>
              </a:rPr>
              <a:t>WE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928B7F3-E9E1-A05D-7300-C3609CE0AB97}"/>
              </a:ext>
            </a:extLst>
          </p:cNvPr>
          <p:cNvSpPr txBox="1"/>
          <p:nvPr/>
        </p:nvSpPr>
        <p:spPr>
          <a:xfrm>
            <a:off x="9027583" y="5627253"/>
            <a:ext cx="21759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>
                <a:latin typeface="Cavolini" panose="03000502040302020204" pitchFamily="66" charset="0"/>
                <a:cs typeface="Cavolini" panose="03000502040302020204" pitchFamily="66" charset="0"/>
              </a:rPr>
              <a:t>HIRING!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132EA7C-760E-AEBD-223B-6A8434F68931}"/>
              </a:ext>
            </a:extLst>
          </p:cNvPr>
          <p:cNvSpPr txBox="1"/>
          <p:nvPr/>
        </p:nvSpPr>
        <p:spPr>
          <a:xfrm>
            <a:off x="5568753" y="5433484"/>
            <a:ext cx="15155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>
                <a:latin typeface="Cavolini" panose="03000502040302020204" pitchFamily="66" charset="0"/>
                <a:cs typeface="Cavolini" panose="03000502040302020204" pitchFamily="66" charset="0"/>
              </a:rPr>
              <a:t>ARE</a:t>
            </a:r>
          </a:p>
        </p:txBody>
      </p:sp>
    </p:spTree>
    <p:extLst>
      <p:ext uri="{BB962C8B-B14F-4D97-AF65-F5344CB8AC3E}">
        <p14:creationId xmlns:p14="http://schemas.microsoft.com/office/powerpoint/2010/main" val="32194419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3254976-F0A5-A16D-EF68-0A8A2137D6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5557" y="1484711"/>
            <a:ext cx="6187643" cy="2446748"/>
          </a:xfrm>
          <a:prstGeom prst="rect">
            <a:avLst/>
          </a:prstGeom>
          <a:ln>
            <a:solidFill>
              <a:srgbClr val="011947"/>
            </a:solidFill>
          </a:ln>
        </p:spPr>
      </p:pic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D0D54345-5E71-9DA0-BF95-7BDB7C426B75}"/>
              </a:ext>
            </a:extLst>
          </p:cNvPr>
          <p:cNvSpPr/>
          <p:nvPr/>
        </p:nvSpPr>
        <p:spPr>
          <a:xfrm>
            <a:off x="2203450" y="244259"/>
            <a:ext cx="7785100" cy="1013041"/>
          </a:xfrm>
          <a:prstGeom prst="roundRect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u="sng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alpcl.bamboohr.com/career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DC09C4B-136A-EC70-4393-E26A9F2C4F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67572" y="1536356"/>
            <a:ext cx="4234792" cy="4717707"/>
          </a:xfrm>
          <a:prstGeom prst="rect">
            <a:avLst/>
          </a:prstGeom>
          <a:ln>
            <a:solidFill>
              <a:srgbClr val="011947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4F9C840-0F6E-0291-BC7C-7403016B5A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89454" y="3381887"/>
            <a:ext cx="7366813" cy="3368160"/>
          </a:xfrm>
          <a:prstGeom prst="rect">
            <a:avLst/>
          </a:prstGeom>
          <a:ln>
            <a:solidFill>
              <a:srgbClr val="011947"/>
            </a:solidFill>
          </a:ln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6F0402A4-849A-39FA-0A28-D4CD8D46EA76}"/>
              </a:ext>
            </a:extLst>
          </p:cNvPr>
          <p:cNvSpPr/>
          <p:nvPr/>
        </p:nvSpPr>
        <p:spPr>
          <a:xfrm>
            <a:off x="79807" y="1198961"/>
            <a:ext cx="571500" cy="571500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/>
              <a:t>1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06DF7BD0-B638-CD7F-AF9A-5F7B489B8A36}"/>
              </a:ext>
            </a:extLst>
          </p:cNvPr>
          <p:cNvSpPr/>
          <p:nvPr/>
        </p:nvSpPr>
        <p:spPr>
          <a:xfrm>
            <a:off x="6267450" y="3511135"/>
            <a:ext cx="571500" cy="571500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/>
              <a:t>2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642B45E5-CCE3-5886-C733-33AE86EE4D9F}"/>
              </a:ext>
            </a:extLst>
          </p:cNvPr>
          <p:cNvSpPr/>
          <p:nvPr/>
        </p:nvSpPr>
        <p:spPr>
          <a:xfrm>
            <a:off x="11430864" y="1484711"/>
            <a:ext cx="571500" cy="571500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9798995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F9A4192-52E0-5B99-7EB2-9E3E8E6A13B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8919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9A4192-52E0-5B99-7EB2-9E3E8E6A13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7475EFB-6853-311A-C51D-7FCE6174EE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8800" y="6489791"/>
            <a:ext cx="2743200" cy="365125"/>
          </a:xfrm>
        </p:spPr>
        <p:txBody>
          <a:bodyPr/>
          <a:lstStyle/>
          <a:p>
            <a:fld id="{53AC7BF3-02B9-EE48-A24D-01E986EF0CE6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968238-B0E7-859A-7994-71E58226CF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55" y="129358"/>
            <a:ext cx="10985320" cy="59270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>
                <a:solidFill>
                  <a:srgbClr val="011947"/>
                </a:solidFill>
              </a:rPr>
              <a:t>400+ Indirect Jobs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82E23BF8-B62E-7BCA-F7DE-40D9A7A2203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40365" y="876786"/>
            <a:ext cx="5557699" cy="2456085"/>
          </a:xfrm>
          <a:prstGeom prst="rect">
            <a:avLst/>
          </a:prstGeom>
        </p:spPr>
      </p:pic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BB5F6A21-F472-58E1-30EC-8F38D2A045A8}"/>
              </a:ext>
            </a:extLst>
          </p:cNvPr>
          <p:cNvSpPr/>
          <p:nvPr/>
        </p:nvSpPr>
        <p:spPr>
          <a:xfrm>
            <a:off x="7996691" y="3438226"/>
            <a:ext cx="3098826" cy="2913398"/>
          </a:xfrm>
          <a:prstGeom prst="roundRect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ore Details on How to Apply to  Come in 2024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F223A21-8814-CB4D-9E6D-DD75F8AE90EF}"/>
              </a:ext>
            </a:extLst>
          </p:cNvPr>
          <p:cNvGrpSpPr/>
          <p:nvPr/>
        </p:nvGrpSpPr>
        <p:grpSpPr>
          <a:xfrm>
            <a:off x="822037" y="3438226"/>
            <a:ext cx="3450232" cy="2931482"/>
            <a:chOff x="822037" y="3438226"/>
            <a:chExt cx="3450232" cy="2931482"/>
          </a:xfrm>
        </p:grpSpPr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F43808E2-523E-B3B4-0691-C7BE21A26195}"/>
                </a:ext>
              </a:extLst>
            </p:cNvPr>
            <p:cNvSpPr/>
            <p:nvPr/>
          </p:nvSpPr>
          <p:spPr>
            <a:xfrm>
              <a:off x="822037" y="4967249"/>
              <a:ext cx="2872510" cy="1402459"/>
            </a:xfrm>
            <a:prstGeom prst="roundRect">
              <a:avLst/>
            </a:prstGeom>
            <a:solidFill>
              <a:schemeClr val="tx2">
                <a:lumMod val="50000"/>
              </a:schemeClr>
            </a:solidFill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600" b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F&amp;B Jobs</a:t>
              </a:r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D68D42BC-A419-3247-D546-1035FFC70A72}"/>
                </a:ext>
              </a:extLst>
            </p:cNvPr>
            <p:cNvSpPr/>
            <p:nvPr/>
          </p:nvSpPr>
          <p:spPr>
            <a:xfrm>
              <a:off x="822037" y="3438226"/>
              <a:ext cx="2872510" cy="1402459"/>
            </a:xfrm>
            <a:prstGeom prst="roundRect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600" b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etail Jobs</a:t>
              </a:r>
            </a:p>
          </p:txBody>
        </p:sp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B71E06B5-A6E2-B4EB-528A-48F8BBE49A09}"/>
                </a:ext>
              </a:extLst>
            </p:cNvPr>
            <p:cNvSpPr/>
            <p:nvPr/>
          </p:nvSpPr>
          <p:spPr>
            <a:xfrm rot="5400000">
              <a:off x="2650496" y="4622009"/>
              <a:ext cx="2650837" cy="592709"/>
            </a:xfrm>
            <a:prstGeom prst="triangle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6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93E131C-AC6B-BAE3-AF6C-F1C54C17CDD9}"/>
              </a:ext>
            </a:extLst>
          </p:cNvPr>
          <p:cNvGrpSpPr/>
          <p:nvPr/>
        </p:nvGrpSpPr>
        <p:grpSpPr>
          <a:xfrm>
            <a:off x="4496531" y="3438226"/>
            <a:ext cx="3275899" cy="2913398"/>
            <a:chOff x="4496531" y="3438226"/>
            <a:chExt cx="3275899" cy="2913398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785E756B-3552-5FC5-B5C6-6794D9F1C990}"/>
                </a:ext>
              </a:extLst>
            </p:cNvPr>
            <p:cNvSpPr/>
            <p:nvPr/>
          </p:nvSpPr>
          <p:spPr>
            <a:xfrm>
              <a:off x="4496531" y="3438226"/>
              <a:ext cx="2692428" cy="2913398"/>
            </a:xfrm>
            <a:prstGeom prst="roundRect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60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Will be Hired by 3</a:t>
              </a:r>
              <a:r>
                <a:rPr lang="en-US" sz="3600" baseline="3000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d</a:t>
              </a:r>
              <a:r>
                <a:rPr lang="en-US" sz="360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Party Partners</a:t>
              </a:r>
            </a:p>
          </p:txBody>
        </p:sp>
        <p:sp>
          <p:nvSpPr>
            <p:cNvPr id="10" name="Isosceles Triangle 9">
              <a:extLst>
                <a:ext uri="{FF2B5EF4-FFF2-40B4-BE49-F238E27FC236}">
                  <a16:creationId xmlns:a16="http://schemas.microsoft.com/office/drawing/2014/main" id="{AA4B1718-2EB1-4086-5EC7-C841302581CD}"/>
                </a:ext>
              </a:extLst>
            </p:cNvPr>
            <p:cNvSpPr/>
            <p:nvPr/>
          </p:nvSpPr>
          <p:spPr>
            <a:xfrm rot="5400000">
              <a:off x="6372332" y="4612774"/>
              <a:ext cx="2207488" cy="592709"/>
            </a:xfrm>
            <a:prstGeom prst="triangle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6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443531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n aerial view of a beach and a water park&#10;&#10;Description automatically generated">
            <a:extLst>
              <a:ext uri="{FF2B5EF4-FFF2-40B4-BE49-F238E27FC236}">
                <a16:creationId xmlns:a16="http://schemas.microsoft.com/office/drawing/2014/main" id="{4F18A518-236F-7DD9-B0B6-97D2F4759A8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02"/>
          <a:stretch/>
        </p:blipFill>
        <p:spPr>
          <a:xfrm>
            <a:off x="-26756" y="-1"/>
            <a:ext cx="12320356" cy="6936509"/>
          </a:xfrm>
          <a:prstGeom prst="rect">
            <a:avLst/>
          </a:prstGeom>
        </p:spPr>
      </p:pic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0ADDC3E-F0CC-CA18-C895-50BC14E80B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9601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0ADDC3E-F0CC-CA18-C895-50BC14E80B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748B566-D9CD-E574-8247-55FE17F536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755" y="6019797"/>
            <a:ext cx="12192000" cy="765299"/>
          </a:xfrm>
        </p:spPr>
        <p:txBody>
          <a:bodyPr vert="horz"/>
          <a:lstStyle/>
          <a:p>
            <a:r>
              <a:rPr lang="en-US"/>
              <a:t>Thank You!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4073A0-3484-A243-E390-4306741A1B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3AC7BF3-02B9-EE48-A24D-01E986EF0CE6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65223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9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">
      <a:dk1>
        <a:srgbClr val="000000"/>
      </a:dk1>
      <a:lt1>
        <a:srgbClr val="FFFFFF"/>
      </a:lt1>
      <a:dk2>
        <a:srgbClr val="003087"/>
      </a:dk2>
      <a:lt2>
        <a:srgbClr val="111C4E"/>
      </a:lt2>
      <a:accent1>
        <a:srgbClr val="95D4E9"/>
      </a:accent1>
      <a:accent2>
        <a:srgbClr val="6BC4E8"/>
      </a:accent2>
      <a:accent3>
        <a:srgbClr val="F32735"/>
      </a:accent3>
      <a:accent4>
        <a:srgbClr val="DBD9D6"/>
      </a:accent4>
      <a:accent5>
        <a:srgbClr val="DB1836"/>
      </a:accent5>
      <a:accent6>
        <a:srgbClr val="003087"/>
      </a:accent6>
      <a:hlink>
        <a:srgbClr val="1D6EFF"/>
      </a:hlink>
      <a:folHlink>
        <a:srgbClr val="FAA8AE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5005B73E9558488BBF534861B1AD3F" ma:contentTypeVersion="14" ma:contentTypeDescription="Create a new document." ma:contentTypeScope="" ma:versionID="1eb51af2e530321646deedb7b04eeb37">
  <xsd:schema xmlns:xsd="http://www.w3.org/2001/XMLSchema" xmlns:xs="http://www.w3.org/2001/XMLSchema" xmlns:p="http://schemas.microsoft.com/office/2006/metadata/properties" xmlns:ns2="492ec4de-58b1-41ed-9989-04e8dc2c77d5" xmlns:ns3="1d1c295b-6143-4b1c-8904-88276d51c19c" targetNamespace="http://schemas.microsoft.com/office/2006/metadata/properties" ma:root="true" ma:fieldsID="7e0f159bbb93b4e27427b2cd9f380b18" ns2:_="" ns3:_="">
    <xsd:import namespace="492ec4de-58b1-41ed-9989-04e8dc2c77d5"/>
    <xsd:import namespace="1d1c295b-6143-4b1c-8904-88276d51c19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92ec4de-58b1-41ed-9989-04e8dc2c77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431271b3-10d3-457a-b0bf-938de0352f5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d1c295b-6143-4b1c-8904-88276d51c19c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32253ea0-654e-45f6-be96-95cb9024350b}" ma:internalName="TaxCatchAll" ma:showField="CatchAllData" ma:web="1d1c295b-6143-4b1c-8904-88276d51c19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92ec4de-58b1-41ed-9989-04e8dc2c77d5">
      <Terms xmlns="http://schemas.microsoft.com/office/infopath/2007/PartnerControls"/>
    </lcf76f155ced4ddcb4097134ff3c332f>
    <TaxCatchAll xmlns="1d1c295b-6143-4b1c-8904-88276d51c19c" xsi:nil="true"/>
    <SharedWithUsers xmlns="1d1c295b-6143-4b1c-8904-88276d51c19c">
      <UserInfo>
        <DisplayName>Fuhr, Raffaela (CarnCorp)</DisplayName>
        <AccountId>172</AccountId>
        <AccountType/>
      </UserInfo>
      <UserInfo>
        <DisplayName>McGregor, Michelle (CarnCorp)</DisplayName>
        <AccountId>12</AccountId>
        <AccountType/>
      </UserInfo>
      <UserInfo>
        <DisplayName>Ribeiro, Renata (CarnCorp)</DisplayName>
        <AccountId>30</AccountId>
        <AccountType/>
      </UserInfo>
      <UserInfo>
        <DisplayName>Nieto, Lindsey (CCL)</DisplayName>
        <AccountId>306</AccountId>
        <AccountType/>
      </UserInfo>
      <UserInfo>
        <DisplayName>Anderson, Krista (Contractor)</DisplayName>
        <AccountId>194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BF9C72C-9D1A-4B56-95F8-48B943825BCB}">
  <ds:schemaRefs>
    <ds:schemaRef ds:uri="1d1c295b-6143-4b1c-8904-88276d51c19c"/>
    <ds:schemaRef ds:uri="492ec4de-58b1-41ed-9989-04e8dc2c77d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F1337D26-7B58-4232-AC65-FEF78BD47BF4}">
  <ds:schemaRefs>
    <ds:schemaRef ds:uri="1d1c295b-6143-4b1c-8904-88276d51c19c"/>
    <ds:schemaRef ds:uri="492ec4de-58b1-41ed-9989-04e8dc2c77d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7285C434-2708-4595-B315-5ECA3B984DC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57</Words>
  <Application>Microsoft Office PowerPoint</Application>
  <PresentationFormat>Widescreen</PresentationFormat>
  <Paragraphs>62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Calibri</vt:lpstr>
      <vt:lpstr>Tahoma</vt:lpstr>
      <vt:lpstr>Courier New</vt:lpstr>
      <vt:lpstr>Arial</vt:lpstr>
      <vt:lpstr>Cavolini</vt:lpstr>
      <vt:lpstr>Office Theme</vt:lpstr>
      <vt:lpstr>think-cell Slide</vt:lpstr>
      <vt:lpstr>Celebration Key – Job Opportunities</vt:lpstr>
      <vt:lpstr>300+ Direct Jobs</vt:lpstr>
      <vt:lpstr>What are we looking for?</vt:lpstr>
      <vt:lpstr>Timeline</vt:lpstr>
      <vt:lpstr>How to apply</vt:lpstr>
      <vt:lpstr>PowerPoint Presentation</vt:lpstr>
      <vt:lpstr>400+ Indirect Jobs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rlos Rodriguez</dc:creator>
  <cp:lastModifiedBy>Mota, Raquel (CarnCorp)</cp:lastModifiedBy>
  <cp:revision>2</cp:revision>
  <cp:lastPrinted>2023-08-24T19:50:27Z</cp:lastPrinted>
  <dcterms:created xsi:type="dcterms:W3CDTF">2023-01-26T17:38:13Z</dcterms:created>
  <dcterms:modified xsi:type="dcterms:W3CDTF">2023-10-31T21:06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485005B73E9558488BBF534861B1AD3F</vt:lpwstr>
  </property>
</Properties>
</file>